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xml" ContentType="application/vnd.openxmlformats-officedocument.presentationml.tags+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5.xml" ContentType="application/vnd.openxmlformats-officedocument.presentationml.tags+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5371" r:id="rId4"/>
    <p:sldMasterId id="2147485416" r:id="rId5"/>
  </p:sldMasterIdLst>
  <p:notesMasterIdLst>
    <p:notesMasterId r:id="rId26"/>
  </p:notesMasterIdLst>
  <p:sldIdLst>
    <p:sldId id="2103813174" r:id="rId6"/>
    <p:sldId id="580" r:id="rId7"/>
    <p:sldId id="2103813175" r:id="rId8"/>
    <p:sldId id="662" r:id="rId9"/>
    <p:sldId id="477" r:id="rId10"/>
    <p:sldId id="351" r:id="rId11"/>
    <p:sldId id="2103813176" r:id="rId12"/>
    <p:sldId id="1562" r:id="rId13"/>
    <p:sldId id="478" r:id="rId14"/>
    <p:sldId id="669" r:id="rId15"/>
    <p:sldId id="629" r:id="rId16"/>
    <p:sldId id="1555" r:id="rId17"/>
    <p:sldId id="631" r:id="rId18"/>
    <p:sldId id="641" r:id="rId19"/>
    <p:sldId id="1552" r:id="rId20"/>
    <p:sldId id="630" r:id="rId21"/>
    <p:sldId id="646" r:id="rId22"/>
    <p:sldId id="636" r:id="rId23"/>
    <p:sldId id="1343" r:id="rId24"/>
    <p:sldId id="27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Lst>
        </p14:section>
        <p14:section name="Module 1: Template" id="{D2BC3036-AFF2-4A70-B633-C33CF965DF72}">
          <p14:sldIdLst>
            <p14:sldId id="580"/>
            <p14:sldId id="2103813175"/>
            <p14:sldId id="662"/>
            <p14:sldId id="477"/>
            <p14:sldId id="351"/>
            <p14:sldId id="2103813176"/>
            <p14:sldId id="1562"/>
            <p14:sldId id="478"/>
            <p14:sldId id="669"/>
            <p14:sldId id="629"/>
            <p14:sldId id="1555"/>
            <p14:sldId id="631"/>
            <p14:sldId id="641"/>
            <p14:sldId id="1552"/>
            <p14:sldId id="630"/>
            <p14:sldId id="646"/>
            <p14:sldId id="636"/>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CF7"/>
    <a:srgbClr val="75C3EA"/>
    <a:srgbClr val="569AD2"/>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683" autoAdjust="0"/>
    <p:restoredTop sz="94980" autoAdjust="0"/>
  </p:normalViewPr>
  <p:slideViewPr>
    <p:cSldViewPr snapToGrid="0">
      <p:cViewPr varScale="1">
        <p:scale>
          <a:sx n="58" d="100"/>
          <a:sy n="58" d="100"/>
        </p:scale>
        <p:origin x="412" y="5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9D93E8-E5D7-4F8E-99CB-D9A6C5415546}"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F9EF8A99-18FC-4CCB-9181-4D44D379DC87}">
      <dgm:prSet/>
      <dgm:spPr/>
      <dgm:t>
        <a:bodyPr/>
        <a:lstStyle/>
        <a:p>
          <a:r>
            <a:rPr lang="en-US" baseline="0" dirty="0"/>
            <a:t>A data page is the fundamental unit of data storage in SQL Server.</a:t>
          </a:r>
          <a:endParaRPr lang="en-US" dirty="0"/>
        </a:p>
      </dgm:t>
    </dgm:pt>
    <dgm:pt modelId="{14BD4039-EEF0-4D85-AB36-01F9540BA69A}" type="parTrans" cxnId="{4D1AF5AC-24AE-44C8-93D5-E50D164D1B30}">
      <dgm:prSet/>
      <dgm:spPr/>
      <dgm:t>
        <a:bodyPr/>
        <a:lstStyle/>
        <a:p>
          <a:endParaRPr lang="en-US"/>
        </a:p>
      </dgm:t>
    </dgm:pt>
    <dgm:pt modelId="{ABD79CF5-4008-495C-8CAA-22736D2574A4}" type="sibTrans" cxnId="{4D1AF5AC-24AE-44C8-93D5-E50D164D1B30}">
      <dgm:prSet/>
      <dgm:spPr/>
      <dgm:t>
        <a:bodyPr/>
        <a:lstStyle/>
        <a:p>
          <a:endParaRPr lang="en-US"/>
        </a:p>
      </dgm:t>
    </dgm:pt>
    <dgm:pt modelId="{DEF4B9F8-4D87-428D-8AF0-6A8365B1B7FD}">
      <dgm:prSet/>
      <dgm:spPr/>
      <dgm:t>
        <a:bodyPr/>
        <a:lstStyle/>
        <a:p>
          <a:r>
            <a:rPr lang="en-US" baseline="0"/>
            <a:t>The disk space allocated to a data file (.mdf or .ndf) is logically divided into pages.</a:t>
          </a:r>
          <a:endParaRPr lang="en-US"/>
        </a:p>
      </dgm:t>
    </dgm:pt>
    <dgm:pt modelId="{640ECEFD-6503-4F20-8220-D1A9F695AE7A}" type="parTrans" cxnId="{575923CF-9BFD-4DE8-BC0C-C901E9B493CC}">
      <dgm:prSet/>
      <dgm:spPr/>
      <dgm:t>
        <a:bodyPr/>
        <a:lstStyle/>
        <a:p>
          <a:endParaRPr lang="en-US"/>
        </a:p>
      </dgm:t>
    </dgm:pt>
    <dgm:pt modelId="{C68A7289-EBCC-4F60-8980-A6750656FE11}" type="sibTrans" cxnId="{575923CF-9BFD-4DE8-BC0C-C901E9B493CC}">
      <dgm:prSet/>
      <dgm:spPr/>
      <dgm:t>
        <a:bodyPr/>
        <a:lstStyle/>
        <a:p>
          <a:endParaRPr lang="en-US"/>
        </a:p>
      </dgm:t>
    </dgm:pt>
    <dgm:pt modelId="{3F544BC3-618C-4131-8BD9-F8B7F5BE517A}">
      <dgm:prSet/>
      <dgm:spPr/>
      <dgm:t>
        <a:bodyPr/>
        <a:lstStyle/>
        <a:p>
          <a:r>
            <a:rPr lang="en-US" baseline="0"/>
            <a:t>Each page is 8 KB in size</a:t>
          </a:r>
          <a:endParaRPr lang="en-US"/>
        </a:p>
      </dgm:t>
    </dgm:pt>
    <dgm:pt modelId="{A8A24A74-0635-48C5-845D-4D3067374116}" type="parTrans" cxnId="{569D8073-6E48-45E1-A62D-A6AE389FEFFD}">
      <dgm:prSet/>
      <dgm:spPr/>
      <dgm:t>
        <a:bodyPr/>
        <a:lstStyle/>
        <a:p>
          <a:endParaRPr lang="en-US"/>
        </a:p>
      </dgm:t>
    </dgm:pt>
    <dgm:pt modelId="{AF328828-6E0F-4520-B74A-6DC9213BC8E8}" type="sibTrans" cxnId="{569D8073-6E48-45E1-A62D-A6AE389FEFFD}">
      <dgm:prSet/>
      <dgm:spPr/>
      <dgm:t>
        <a:bodyPr/>
        <a:lstStyle/>
        <a:p>
          <a:endParaRPr lang="en-US"/>
        </a:p>
      </dgm:t>
    </dgm:pt>
    <dgm:pt modelId="{AEE3908D-BB68-4C20-BCC0-1357C6F4AB3C}">
      <dgm:prSet/>
      <dgm:spPr/>
      <dgm:t>
        <a:bodyPr/>
        <a:lstStyle/>
        <a:p>
          <a:r>
            <a:rPr lang="en-US" baseline="0"/>
            <a:t>Pages are numbered contiguously from 0 to n. </a:t>
          </a:r>
          <a:endParaRPr lang="en-US"/>
        </a:p>
      </dgm:t>
    </dgm:pt>
    <dgm:pt modelId="{DA56CE51-55F0-4766-B3F6-E44295E4571D}" type="parTrans" cxnId="{1D413A74-A4A4-482A-988A-C76B027D936C}">
      <dgm:prSet/>
      <dgm:spPr/>
      <dgm:t>
        <a:bodyPr/>
        <a:lstStyle/>
        <a:p>
          <a:endParaRPr lang="en-US"/>
        </a:p>
      </dgm:t>
    </dgm:pt>
    <dgm:pt modelId="{FDEB6DB6-70AB-4BF2-A551-18A7451FC132}" type="sibTrans" cxnId="{1D413A74-A4A4-482A-988A-C76B027D936C}">
      <dgm:prSet/>
      <dgm:spPr/>
      <dgm:t>
        <a:bodyPr/>
        <a:lstStyle/>
        <a:p>
          <a:endParaRPr lang="en-US"/>
        </a:p>
      </dgm:t>
    </dgm:pt>
    <dgm:pt modelId="{6F00449F-1269-4D42-8F1D-9AB12C705CD2}">
      <dgm:prSet/>
      <dgm:spPr/>
      <dgm:t>
        <a:bodyPr/>
        <a:lstStyle/>
        <a:p>
          <a:r>
            <a:rPr lang="en-US" baseline="0"/>
            <a:t>Disk I/O operations are performed at the page level.</a:t>
          </a:r>
          <a:endParaRPr lang="en-US"/>
        </a:p>
      </dgm:t>
    </dgm:pt>
    <dgm:pt modelId="{687EFFB1-887A-4D9D-ABD5-AD50097D96DA}" type="parTrans" cxnId="{61B66761-1F3E-4F8A-86D9-E1087D477129}">
      <dgm:prSet/>
      <dgm:spPr/>
      <dgm:t>
        <a:bodyPr/>
        <a:lstStyle/>
        <a:p>
          <a:endParaRPr lang="en-US"/>
        </a:p>
      </dgm:t>
    </dgm:pt>
    <dgm:pt modelId="{ED7C89E6-CEC2-4368-AF72-4B0CBA0D5AB1}" type="sibTrans" cxnId="{61B66761-1F3E-4F8A-86D9-E1087D477129}">
      <dgm:prSet/>
      <dgm:spPr/>
      <dgm:t>
        <a:bodyPr/>
        <a:lstStyle/>
        <a:p>
          <a:endParaRPr lang="en-US"/>
        </a:p>
      </dgm:t>
    </dgm:pt>
    <dgm:pt modelId="{AC6FB9C3-0730-4BE1-9122-564D8A8F26F6}">
      <dgm:prSet/>
      <dgm:spPr/>
      <dgm:t>
        <a:bodyPr/>
        <a:lstStyle/>
        <a:p>
          <a:r>
            <a:rPr lang="en-US" baseline="0"/>
            <a:t>Extents are a collection of eight physically contiguous pages (64KB) and are used to efficiently manage the pages. </a:t>
          </a:r>
          <a:endParaRPr lang="en-US"/>
        </a:p>
      </dgm:t>
    </dgm:pt>
    <dgm:pt modelId="{89CC61C0-4FDD-4C52-B1A3-4476FBBC917C}" type="parTrans" cxnId="{F73D015C-79D6-44D5-A041-06D0B928C26A}">
      <dgm:prSet/>
      <dgm:spPr/>
      <dgm:t>
        <a:bodyPr/>
        <a:lstStyle/>
        <a:p>
          <a:endParaRPr lang="en-US"/>
        </a:p>
      </dgm:t>
    </dgm:pt>
    <dgm:pt modelId="{FE09AC67-92B6-4C7A-8EF7-359B708C9C83}" type="sibTrans" cxnId="{F73D015C-79D6-44D5-A041-06D0B928C26A}">
      <dgm:prSet/>
      <dgm:spPr/>
      <dgm:t>
        <a:bodyPr/>
        <a:lstStyle/>
        <a:p>
          <a:endParaRPr lang="en-US"/>
        </a:p>
      </dgm:t>
    </dgm:pt>
    <dgm:pt modelId="{6B415267-0143-4FEC-8599-4EFD74853C0B}" type="pres">
      <dgm:prSet presAssocID="{329D93E8-E5D7-4F8E-99CB-D9A6C5415546}" presName="linear" presStyleCnt="0">
        <dgm:presLayoutVars>
          <dgm:animLvl val="lvl"/>
          <dgm:resizeHandles val="exact"/>
        </dgm:presLayoutVars>
      </dgm:prSet>
      <dgm:spPr/>
    </dgm:pt>
    <dgm:pt modelId="{DC818F98-D77E-404D-8396-2CD567FBCDCB}" type="pres">
      <dgm:prSet presAssocID="{F9EF8A99-18FC-4CCB-9181-4D44D379DC87}" presName="parentText" presStyleLbl="node1" presStyleIdx="0" presStyleCnt="2">
        <dgm:presLayoutVars>
          <dgm:chMax val="0"/>
          <dgm:bulletEnabled val="1"/>
        </dgm:presLayoutVars>
      </dgm:prSet>
      <dgm:spPr/>
    </dgm:pt>
    <dgm:pt modelId="{4E07E69E-F0D7-4C1A-ABB4-C91FBDE32562}" type="pres">
      <dgm:prSet presAssocID="{F9EF8A99-18FC-4CCB-9181-4D44D379DC87}" presName="childText" presStyleLbl="revTx" presStyleIdx="0" presStyleCnt="1">
        <dgm:presLayoutVars>
          <dgm:bulletEnabled val="1"/>
        </dgm:presLayoutVars>
      </dgm:prSet>
      <dgm:spPr/>
    </dgm:pt>
    <dgm:pt modelId="{1B848AEE-BC85-4AA9-8DEF-430F253DFCD7}" type="pres">
      <dgm:prSet presAssocID="{AC6FB9C3-0730-4BE1-9122-564D8A8F26F6}" presName="parentText" presStyleLbl="node1" presStyleIdx="1" presStyleCnt="2">
        <dgm:presLayoutVars>
          <dgm:chMax val="0"/>
          <dgm:bulletEnabled val="1"/>
        </dgm:presLayoutVars>
      </dgm:prSet>
      <dgm:spPr/>
    </dgm:pt>
  </dgm:ptLst>
  <dgm:cxnLst>
    <dgm:cxn modelId="{F73D015C-79D6-44D5-A041-06D0B928C26A}" srcId="{329D93E8-E5D7-4F8E-99CB-D9A6C5415546}" destId="{AC6FB9C3-0730-4BE1-9122-564D8A8F26F6}" srcOrd="1" destOrd="0" parTransId="{89CC61C0-4FDD-4C52-B1A3-4476FBBC917C}" sibTransId="{FE09AC67-92B6-4C7A-8EF7-359B708C9C83}"/>
    <dgm:cxn modelId="{61B66761-1F3E-4F8A-86D9-E1087D477129}" srcId="{F9EF8A99-18FC-4CCB-9181-4D44D379DC87}" destId="{6F00449F-1269-4D42-8F1D-9AB12C705CD2}" srcOrd="3" destOrd="0" parTransId="{687EFFB1-887A-4D9D-ABD5-AD50097D96DA}" sibTransId="{ED7C89E6-CEC2-4368-AF72-4B0CBA0D5AB1}"/>
    <dgm:cxn modelId="{AE8E8A69-3C67-44C7-9FCB-CCEA010DDA03}" type="presOf" srcId="{329D93E8-E5D7-4F8E-99CB-D9A6C5415546}" destId="{6B415267-0143-4FEC-8599-4EFD74853C0B}" srcOrd="0" destOrd="0" presId="urn:microsoft.com/office/officeart/2005/8/layout/vList2"/>
    <dgm:cxn modelId="{569D8073-6E48-45E1-A62D-A6AE389FEFFD}" srcId="{F9EF8A99-18FC-4CCB-9181-4D44D379DC87}" destId="{3F544BC3-618C-4131-8BD9-F8B7F5BE517A}" srcOrd="1" destOrd="0" parTransId="{A8A24A74-0635-48C5-845D-4D3067374116}" sibTransId="{AF328828-6E0F-4520-B74A-6DC9213BC8E8}"/>
    <dgm:cxn modelId="{1D413A74-A4A4-482A-988A-C76B027D936C}" srcId="{F9EF8A99-18FC-4CCB-9181-4D44D379DC87}" destId="{AEE3908D-BB68-4C20-BCC0-1357C6F4AB3C}" srcOrd="2" destOrd="0" parTransId="{DA56CE51-55F0-4766-B3F6-E44295E4571D}" sibTransId="{FDEB6DB6-70AB-4BF2-A551-18A7451FC132}"/>
    <dgm:cxn modelId="{5B788854-0343-4E52-9732-76BFB671E4C6}" type="presOf" srcId="{DEF4B9F8-4D87-428D-8AF0-6A8365B1B7FD}" destId="{4E07E69E-F0D7-4C1A-ABB4-C91FBDE32562}" srcOrd="0" destOrd="0" presId="urn:microsoft.com/office/officeart/2005/8/layout/vList2"/>
    <dgm:cxn modelId="{373CDA75-303B-4B4D-B00D-0C5A8A2DBF84}" type="presOf" srcId="{F9EF8A99-18FC-4CCB-9181-4D44D379DC87}" destId="{DC818F98-D77E-404D-8396-2CD567FBCDCB}" srcOrd="0" destOrd="0" presId="urn:microsoft.com/office/officeart/2005/8/layout/vList2"/>
    <dgm:cxn modelId="{30AFD080-A24B-48B4-830F-A033BCD05441}" type="presOf" srcId="{6F00449F-1269-4D42-8F1D-9AB12C705CD2}" destId="{4E07E69E-F0D7-4C1A-ABB4-C91FBDE32562}" srcOrd="0" destOrd="3" presId="urn:microsoft.com/office/officeart/2005/8/layout/vList2"/>
    <dgm:cxn modelId="{4D1AF5AC-24AE-44C8-93D5-E50D164D1B30}" srcId="{329D93E8-E5D7-4F8E-99CB-D9A6C5415546}" destId="{F9EF8A99-18FC-4CCB-9181-4D44D379DC87}" srcOrd="0" destOrd="0" parTransId="{14BD4039-EEF0-4D85-AB36-01F9540BA69A}" sibTransId="{ABD79CF5-4008-495C-8CAA-22736D2574A4}"/>
    <dgm:cxn modelId="{FC9D1EC6-0E6B-48C2-8B54-D518B1E76FB6}" type="presOf" srcId="{3F544BC3-618C-4131-8BD9-F8B7F5BE517A}" destId="{4E07E69E-F0D7-4C1A-ABB4-C91FBDE32562}" srcOrd="0" destOrd="1" presId="urn:microsoft.com/office/officeart/2005/8/layout/vList2"/>
    <dgm:cxn modelId="{575923CF-9BFD-4DE8-BC0C-C901E9B493CC}" srcId="{F9EF8A99-18FC-4CCB-9181-4D44D379DC87}" destId="{DEF4B9F8-4D87-428D-8AF0-6A8365B1B7FD}" srcOrd="0" destOrd="0" parTransId="{640ECEFD-6503-4F20-8220-D1A9F695AE7A}" sibTransId="{C68A7289-EBCC-4F60-8980-A6750656FE11}"/>
    <dgm:cxn modelId="{064F09DF-667F-4371-B281-A0E4572F682D}" type="presOf" srcId="{AEE3908D-BB68-4C20-BCC0-1357C6F4AB3C}" destId="{4E07E69E-F0D7-4C1A-ABB4-C91FBDE32562}" srcOrd="0" destOrd="2" presId="urn:microsoft.com/office/officeart/2005/8/layout/vList2"/>
    <dgm:cxn modelId="{FAFC20F3-C4D7-46D3-80A5-A869B9CCE490}" type="presOf" srcId="{AC6FB9C3-0730-4BE1-9122-564D8A8F26F6}" destId="{1B848AEE-BC85-4AA9-8DEF-430F253DFCD7}" srcOrd="0" destOrd="0" presId="urn:microsoft.com/office/officeart/2005/8/layout/vList2"/>
    <dgm:cxn modelId="{0C98E095-F182-4B35-B8AD-3C3FB3FB847C}" type="presParOf" srcId="{6B415267-0143-4FEC-8599-4EFD74853C0B}" destId="{DC818F98-D77E-404D-8396-2CD567FBCDCB}" srcOrd="0" destOrd="0" presId="urn:microsoft.com/office/officeart/2005/8/layout/vList2"/>
    <dgm:cxn modelId="{6A204B4B-C035-46B7-843A-A29FAC1CE423}" type="presParOf" srcId="{6B415267-0143-4FEC-8599-4EFD74853C0B}" destId="{4E07E69E-F0D7-4C1A-ABB4-C91FBDE32562}" srcOrd="1" destOrd="0" presId="urn:microsoft.com/office/officeart/2005/8/layout/vList2"/>
    <dgm:cxn modelId="{4998B517-ADC3-4BF3-971D-87DB6C9A4232}" type="presParOf" srcId="{6B415267-0143-4FEC-8599-4EFD74853C0B}" destId="{1B848AEE-BC85-4AA9-8DEF-430F253DFCD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FC17F7E-8799-4FFE-A1EE-C810F4CC96E3}"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7AAA4C43-D9DB-4F29-97D7-E3B947716ECF}">
      <dgm:prSet/>
      <dgm:spPr/>
      <dgm:t>
        <a:bodyPr/>
        <a:lstStyle/>
        <a:p>
          <a:r>
            <a:rPr lang="en-US" dirty="0"/>
            <a:t>Up to, and including, SQL Server 2014 (12.x)</a:t>
          </a:r>
        </a:p>
      </dgm:t>
    </dgm:pt>
    <dgm:pt modelId="{4466761A-BD17-4C28-940B-C28E21B379A0}" type="parTrans" cxnId="{DB9DC1ED-1FE5-4FB1-967B-2C9C8724B23E}">
      <dgm:prSet/>
      <dgm:spPr/>
      <dgm:t>
        <a:bodyPr/>
        <a:lstStyle/>
        <a:p>
          <a:endParaRPr lang="en-US"/>
        </a:p>
      </dgm:t>
    </dgm:pt>
    <dgm:pt modelId="{D18106D1-A459-4BFF-A2BA-6425E46DBD38}" type="sibTrans" cxnId="{DB9DC1ED-1FE5-4FB1-967B-2C9C8724B23E}">
      <dgm:prSet/>
      <dgm:spPr/>
      <dgm:t>
        <a:bodyPr/>
        <a:lstStyle/>
        <a:p>
          <a:endParaRPr lang="en-US"/>
        </a:p>
      </dgm:t>
    </dgm:pt>
    <dgm:pt modelId="{5445597E-6F6D-483D-8CAA-595C87CE0824}">
      <dgm:prSet/>
      <dgm:spPr/>
      <dgm:t>
        <a:bodyPr/>
        <a:lstStyle/>
        <a:p>
          <a:r>
            <a:rPr lang="en-US" dirty="0"/>
            <a:t>Trace flag 1118 is used to change default allocation to use uniform extents</a:t>
          </a:r>
        </a:p>
      </dgm:t>
    </dgm:pt>
    <dgm:pt modelId="{C1E45238-B037-4233-A442-01B7335DFA58}" type="parTrans" cxnId="{9386FBEF-21C8-4AC4-A18A-639D5263B30D}">
      <dgm:prSet/>
      <dgm:spPr/>
      <dgm:t>
        <a:bodyPr/>
        <a:lstStyle/>
        <a:p>
          <a:endParaRPr lang="en-US"/>
        </a:p>
      </dgm:t>
    </dgm:pt>
    <dgm:pt modelId="{5945E832-22AE-4E33-815C-7DC34A4E92E3}" type="sibTrans" cxnId="{9386FBEF-21C8-4AC4-A18A-639D5263B30D}">
      <dgm:prSet/>
      <dgm:spPr/>
      <dgm:t>
        <a:bodyPr/>
        <a:lstStyle/>
        <a:p>
          <a:endParaRPr lang="en-US"/>
        </a:p>
      </dgm:t>
    </dgm:pt>
    <dgm:pt modelId="{7F5C0123-C219-49A7-818E-E9F625B5AD27}">
      <dgm:prSet/>
      <dgm:spPr/>
      <dgm:t>
        <a:bodyPr/>
        <a:lstStyle/>
        <a:p>
          <a:r>
            <a:rPr lang="en-US" dirty="0"/>
            <a:t>Starting with SQL Server 2016 (13.x) </a:t>
          </a:r>
        </a:p>
      </dgm:t>
    </dgm:pt>
    <dgm:pt modelId="{F3DB191E-AEC5-4206-8F75-B71379240DA3}" type="parTrans" cxnId="{768C19B3-3739-41E3-BA1E-0C897DF8E18C}">
      <dgm:prSet/>
      <dgm:spPr/>
      <dgm:t>
        <a:bodyPr/>
        <a:lstStyle/>
        <a:p>
          <a:endParaRPr lang="en-US"/>
        </a:p>
      </dgm:t>
    </dgm:pt>
    <dgm:pt modelId="{A7F08836-D840-4C82-A6F1-E8FCB0F2341D}" type="sibTrans" cxnId="{768C19B3-3739-41E3-BA1E-0C897DF8E18C}">
      <dgm:prSet/>
      <dgm:spPr/>
      <dgm:t>
        <a:bodyPr/>
        <a:lstStyle/>
        <a:p>
          <a:endParaRPr lang="en-US"/>
        </a:p>
      </dgm:t>
    </dgm:pt>
    <dgm:pt modelId="{0BEAA0A9-341B-4934-A45F-5E87E1EDFD82}">
      <dgm:prSet/>
      <dgm:spPr/>
      <dgm:t>
        <a:bodyPr/>
        <a:lstStyle/>
        <a:p>
          <a:r>
            <a:rPr lang="en-US" dirty="0"/>
            <a:t>For TempDB: TF 1118 functionality is automatically enabled. </a:t>
          </a:r>
        </a:p>
      </dgm:t>
    </dgm:pt>
    <dgm:pt modelId="{8DC7011F-D8AD-445D-BD69-222D3242E28F}" type="parTrans" cxnId="{01A970F7-EB66-4EFD-B44C-0A836F8B623A}">
      <dgm:prSet/>
      <dgm:spPr/>
      <dgm:t>
        <a:bodyPr/>
        <a:lstStyle/>
        <a:p>
          <a:endParaRPr lang="en-US"/>
        </a:p>
      </dgm:t>
    </dgm:pt>
    <dgm:pt modelId="{5EC97181-A796-47A0-A144-2F3FEF7879B5}" type="sibTrans" cxnId="{01A970F7-EB66-4EFD-B44C-0A836F8B623A}">
      <dgm:prSet/>
      <dgm:spPr/>
      <dgm:t>
        <a:bodyPr/>
        <a:lstStyle/>
        <a:p>
          <a:endParaRPr lang="en-US"/>
        </a:p>
      </dgm:t>
    </dgm:pt>
    <dgm:pt modelId="{ECFB797F-F6BF-4101-9F19-26C04A0EF732}">
      <dgm:prSet/>
      <dgm:spPr/>
      <dgm:t>
        <a:bodyPr/>
        <a:lstStyle/>
        <a:p>
          <a:r>
            <a:rPr lang="en-US" dirty="0"/>
            <a:t>For user databases: behavior controlled with SET MIXED_PAGE_ALLOCATION option of ALTER DATABASE </a:t>
          </a:r>
        </a:p>
      </dgm:t>
    </dgm:pt>
    <dgm:pt modelId="{0D75F6B4-DD2A-4716-9B40-DBB23F0726F5}" type="parTrans" cxnId="{A20E608C-EB31-4EA8-9B59-B044C18E5D6B}">
      <dgm:prSet/>
      <dgm:spPr/>
      <dgm:t>
        <a:bodyPr/>
        <a:lstStyle/>
        <a:p>
          <a:endParaRPr lang="en-US"/>
        </a:p>
      </dgm:t>
    </dgm:pt>
    <dgm:pt modelId="{87011633-9995-4869-AE85-D69022ED095A}" type="sibTrans" cxnId="{A20E608C-EB31-4EA8-9B59-B044C18E5D6B}">
      <dgm:prSet/>
      <dgm:spPr/>
      <dgm:t>
        <a:bodyPr/>
        <a:lstStyle/>
        <a:p>
          <a:endParaRPr lang="en-US"/>
        </a:p>
      </dgm:t>
    </dgm:pt>
    <dgm:pt modelId="{48EF91F3-48BA-4279-A0D7-32A74644C3BD}">
      <dgm:prSet/>
      <dgm:spPr/>
      <dgm:t>
        <a:bodyPr/>
        <a:lstStyle/>
        <a:p>
          <a:r>
            <a:rPr lang="en-US" dirty="0"/>
            <a:t>Default value set to OFF</a:t>
          </a:r>
        </a:p>
      </dgm:t>
    </dgm:pt>
    <dgm:pt modelId="{758B058A-5D08-490D-B5FB-737D79F8AAD9}" type="parTrans" cxnId="{A513893A-07B1-4C6A-961C-99CB194FE3A6}">
      <dgm:prSet/>
      <dgm:spPr/>
      <dgm:t>
        <a:bodyPr/>
        <a:lstStyle/>
        <a:p>
          <a:endParaRPr lang="en-US"/>
        </a:p>
      </dgm:t>
    </dgm:pt>
    <dgm:pt modelId="{A9505A1C-B97A-40C6-BE35-8CCEC8CBE37A}" type="sibTrans" cxnId="{A513893A-07B1-4C6A-961C-99CB194FE3A6}">
      <dgm:prSet/>
      <dgm:spPr/>
      <dgm:t>
        <a:bodyPr/>
        <a:lstStyle/>
        <a:p>
          <a:endParaRPr lang="en-US"/>
        </a:p>
      </dgm:t>
    </dgm:pt>
    <dgm:pt modelId="{80F9227B-93EC-4240-B4E6-B48E94D84F7F}">
      <dgm:prSet/>
      <dgm:spPr/>
      <dgm:t>
        <a:bodyPr/>
        <a:lstStyle/>
        <a:p>
          <a:r>
            <a:rPr lang="en-US" dirty="0"/>
            <a:t>TF 1118 has no effect. </a:t>
          </a:r>
        </a:p>
      </dgm:t>
    </dgm:pt>
    <dgm:pt modelId="{127EC1CD-F8BE-4B42-BD5A-CBE212853D92}" type="parTrans" cxnId="{6AC7B767-1EF7-4E04-B391-6218559687AF}">
      <dgm:prSet/>
      <dgm:spPr/>
      <dgm:t>
        <a:bodyPr/>
        <a:lstStyle/>
        <a:p>
          <a:endParaRPr lang="en-US"/>
        </a:p>
      </dgm:t>
    </dgm:pt>
    <dgm:pt modelId="{F0A5A055-7567-4CEE-B944-31068F19BFA6}" type="sibTrans" cxnId="{6AC7B767-1EF7-4E04-B391-6218559687AF}">
      <dgm:prSet/>
      <dgm:spPr/>
      <dgm:t>
        <a:bodyPr/>
        <a:lstStyle/>
        <a:p>
          <a:endParaRPr lang="en-US"/>
        </a:p>
      </dgm:t>
    </dgm:pt>
    <dgm:pt modelId="{8EAE4144-476E-4E43-A493-21D0BD4D4553}" type="pres">
      <dgm:prSet presAssocID="{3FC17F7E-8799-4FFE-A1EE-C810F4CC96E3}" presName="linear" presStyleCnt="0">
        <dgm:presLayoutVars>
          <dgm:dir/>
          <dgm:animLvl val="lvl"/>
          <dgm:resizeHandles val="exact"/>
        </dgm:presLayoutVars>
      </dgm:prSet>
      <dgm:spPr/>
    </dgm:pt>
    <dgm:pt modelId="{58AEB30C-265E-4A68-862B-B8BFCFBB49AF}" type="pres">
      <dgm:prSet presAssocID="{7AAA4C43-D9DB-4F29-97D7-E3B947716ECF}" presName="parentLin" presStyleCnt="0"/>
      <dgm:spPr/>
    </dgm:pt>
    <dgm:pt modelId="{7C5D412E-EC6A-4D9B-8054-38C3BFA5DCC3}" type="pres">
      <dgm:prSet presAssocID="{7AAA4C43-D9DB-4F29-97D7-E3B947716ECF}" presName="parentLeftMargin" presStyleLbl="node1" presStyleIdx="0" presStyleCnt="2"/>
      <dgm:spPr/>
    </dgm:pt>
    <dgm:pt modelId="{8C141144-BE9A-4ADC-8E56-27B68CEDA7A5}" type="pres">
      <dgm:prSet presAssocID="{7AAA4C43-D9DB-4F29-97D7-E3B947716ECF}" presName="parentText" presStyleLbl="node1" presStyleIdx="0" presStyleCnt="2">
        <dgm:presLayoutVars>
          <dgm:chMax val="0"/>
          <dgm:bulletEnabled val="1"/>
        </dgm:presLayoutVars>
      </dgm:prSet>
      <dgm:spPr/>
    </dgm:pt>
    <dgm:pt modelId="{B6BB2708-00C5-4F13-B9CE-4536541B3523}" type="pres">
      <dgm:prSet presAssocID="{7AAA4C43-D9DB-4F29-97D7-E3B947716ECF}" presName="negativeSpace" presStyleCnt="0"/>
      <dgm:spPr/>
    </dgm:pt>
    <dgm:pt modelId="{3926BE7E-BB42-40A4-8B14-2BC2362B0DA7}" type="pres">
      <dgm:prSet presAssocID="{7AAA4C43-D9DB-4F29-97D7-E3B947716ECF}" presName="childText" presStyleLbl="conFgAcc1" presStyleIdx="0" presStyleCnt="2">
        <dgm:presLayoutVars>
          <dgm:bulletEnabled val="1"/>
        </dgm:presLayoutVars>
      </dgm:prSet>
      <dgm:spPr/>
    </dgm:pt>
    <dgm:pt modelId="{9338B91D-26E6-46E2-8736-6ACE584B81E8}" type="pres">
      <dgm:prSet presAssocID="{D18106D1-A459-4BFF-A2BA-6425E46DBD38}" presName="spaceBetweenRectangles" presStyleCnt="0"/>
      <dgm:spPr/>
    </dgm:pt>
    <dgm:pt modelId="{4DAEA224-E93B-4988-B4B9-B139491598B5}" type="pres">
      <dgm:prSet presAssocID="{7F5C0123-C219-49A7-818E-E9F625B5AD27}" presName="parentLin" presStyleCnt="0"/>
      <dgm:spPr/>
    </dgm:pt>
    <dgm:pt modelId="{9F446210-9B41-4CA0-AC4D-0B862685452A}" type="pres">
      <dgm:prSet presAssocID="{7F5C0123-C219-49A7-818E-E9F625B5AD27}" presName="parentLeftMargin" presStyleLbl="node1" presStyleIdx="0" presStyleCnt="2"/>
      <dgm:spPr/>
    </dgm:pt>
    <dgm:pt modelId="{164A6808-8EE2-47A5-93C4-FA0FBCBBA633}" type="pres">
      <dgm:prSet presAssocID="{7F5C0123-C219-49A7-818E-E9F625B5AD27}" presName="parentText" presStyleLbl="node1" presStyleIdx="1" presStyleCnt="2">
        <dgm:presLayoutVars>
          <dgm:chMax val="0"/>
          <dgm:bulletEnabled val="1"/>
        </dgm:presLayoutVars>
      </dgm:prSet>
      <dgm:spPr/>
    </dgm:pt>
    <dgm:pt modelId="{4F4C6E12-71C2-48B6-A5FA-3768193F5C27}" type="pres">
      <dgm:prSet presAssocID="{7F5C0123-C219-49A7-818E-E9F625B5AD27}" presName="negativeSpace" presStyleCnt="0"/>
      <dgm:spPr/>
    </dgm:pt>
    <dgm:pt modelId="{87CA896E-F38B-413B-8D64-35A7D0637E54}" type="pres">
      <dgm:prSet presAssocID="{7F5C0123-C219-49A7-818E-E9F625B5AD27}" presName="childText" presStyleLbl="conFgAcc1" presStyleIdx="1" presStyleCnt="2">
        <dgm:presLayoutVars>
          <dgm:bulletEnabled val="1"/>
        </dgm:presLayoutVars>
      </dgm:prSet>
      <dgm:spPr/>
    </dgm:pt>
  </dgm:ptLst>
  <dgm:cxnLst>
    <dgm:cxn modelId="{0B3B0901-534F-4D29-B231-1F606E8A6E8E}" type="presOf" srcId="{7AAA4C43-D9DB-4F29-97D7-E3B947716ECF}" destId="{7C5D412E-EC6A-4D9B-8054-38C3BFA5DCC3}" srcOrd="0" destOrd="0" presId="urn:microsoft.com/office/officeart/2005/8/layout/list1"/>
    <dgm:cxn modelId="{915E2F16-929D-4395-9BB1-4C77A68C97A9}" type="presOf" srcId="{7F5C0123-C219-49A7-818E-E9F625B5AD27}" destId="{164A6808-8EE2-47A5-93C4-FA0FBCBBA633}" srcOrd="1" destOrd="0" presId="urn:microsoft.com/office/officeart/2005/8/layout/list1"/>
    <dgm:cxn modelId="{C2C6572E-2D3A-4208-B398-A2585418B285}" type="presOf" srcId="{7F5C0123-C219-49A7-818E-E9F625B5AD27}" destId="{9F446210-9B41-4CA0-AC4D-0B862685452A}" srcOrd="0" destOrd="0" presId="urn:microsoft.com/office/officeart/2005/8/layout/list1"/>
    <dgm:cxn modelId="{09216A35-86EC-4FA8-BC49-FF0061EABFB8}" type="presOf" srcId="{80F9227B-93EC-4240-B4E6-B48E94D84F7F}" destId="{87CA896E-F38B-413B-8D64-35A7D0637E54}" srcOrd="0" destOrd="3" presId="urn:microsoft.com/office/officeart/2005/8/layout/list1"/>
    <dgm:cxn modelId="{A513893A-07B1-4C6A-961C-99CB194FE3A6}" srcId="{ECFB797F-F6BF-4101-9F19-26C04A0EF732}" destId="{48EF91F3-48BA-4279-A0D7-32A74644C3BD}" srcOrd="0" destOrd="0" parTransId="{758B058A-5D08-490D-B5FB-737D79F8AAD9}" sibTransId="{A9505A1C-B97A-40C6-BE35-8CCEC8CBE37A}"/>
    <dgm:cxn modelId="{9AAB775F-4776-4843-82FB-32B99FBD7B26}" type="presOf" srcId="{7AAA4C43-D9DB-4F29-97D7-E3B947716ECF}" destId="{8C141144-BE9A-4ADC-8E56-27B68CEDA7A5}" srcOrd="1" destOrd="0" presId="urn:microsoft.com/office/officeart/2005/8/layout/list1"/>
    <dgm:cxn modelId="{6AC7B767-1EF7-4E04-B391-6218559687AF}" srcId="{ECFB797F-F6BF-4101-9F19-26C04A0EF732}" destId="{80F9227B-93EC-4240-B4E6-B48E94D84F7F}" srcOrd="1" destOrd="0" parTransId="{127EC1CD-F8BE-4B42-BD5A-CBE212853D92}" sibTransId="{F0A5A055-7567-4CEE-B944-31068F19BFA6}"/>
    <dgm:cxn modelId="{7DD45674-6F70-4FFC-9755-12B4F241FF84}" type="presOf" srcId="{ECFB797F-F6BF-4101-9F19-26C04A0EF732}" destId="{87CA896E-F38B-413B-8D64-35A7D0637E54}" srcOrd="0" destOrd="1" presId="urn:microsoft.com/office/officeart/2005/8/layout/list1"/>
    <dgm:cxn modelId="{2A61AC5A-C2F9-4B9D-ACFE-4292BA0D63A3}" type="presOf" srcId="{0BEAA0A9-341B-4934-A45F-5E87E1EDFD82}" destId="{87CA896E-F38B-413B-8D64-35A7D0637E54}" srcOrd="0" destOrd="0" presId="urn:microsoft.com/office/officeart/2005/8/layout/list1"/>
    <dgm:cxn modelId="{A20E608C-EB31-4EA8-9B59-B044C18E5D6B}" srcId="{7F5C0123-C219-49A7-818E-E9F625B5AD27}" destId="{ECFB797F-F6BF-4101-9F19-26C04A0EF732}" srcOrd="1" destOrd="0" parTransId="{0D75F6B4-DD2A-4716-9B40-DBB23F0726F5}" sibTransId="{87011633-9995-4869-AE85-D69022ED095A}"/>
    <dgm:cxn modelId="{902F3FA6-06D4-466F-84F6-EBE1E029E909}" type="presOf" srcId="{5445597E-6F6D-483D-8CAA-595C87CE0824}" destId="{3926BE7E-BB42-40A4-8B14-2BC2362B0DA7}" srcOrd="0" destOrd="0" presId="urn:microsoft.com/office/officeart/2005/8/layout/list1"/>
    <dgm:cxn modelId="{768C19B3-3739-41E3-BA1E-0C897DF8E18C}" srcId="{3FC17F7E-8799-4FFE-A1EE-C810F4CC96E3}" destId="{7F5C0123-C219-49A7-818E-E9F625B5AD27}" srcOrd="1" destOrd="0" parTransId="{F3DB191E-AEC5-4206-8F75-B71379240DA3}" sibTransId="{A7F08836-D840-4C82-A6F1-E8FCB0F2341D}"/>
    <dgm:cxn modelId="{DB38E5C1-B5B5-4C6C-9214-681F0FF58738}" type="presOf" srcId="{3FC17F7E-8799-4FFE-A1EE-C810F4CC96E3}" destId="{8EAE4144-476E-4E43-A493-21D0BD4D4553}" srcOrd="0" destOrd="0" presId="urn:microsoft.com/office/officeart/2005/8/layout/list1"/>
    <dgm:cxn modelId="{C2A724EA-7C6A-465D-8236-90410E86CD58}" type="presOf" srcId="{48EF91F3-48BA-4279-A0D7-32A74644C3BD}" destId="{87CA896E-F38B-413B-8D64-35A7D0637E54}" srcOrd="0" destOrd="2" presId="urn:microsoft.com/office/officeart/2005/8/layout/list1"/>
    <dgm:cxn modelId="{DB9DC1ED-1FE5-4FB1-967B-2C9C8724B23E}" srcId="{3FC17F7E-8799-4FFE-A1EE-C810F4CC96E3}" destId="{7AAA4C43-D9DB-4F29-97D7-E3B947716ECF}" srcOrd="0" destOrd="0" parTransId="{4466761A-BD17-4C28-940B-C28E21B379A0}" sibTransId="{D18106D1-A459-4BFF-A2BA-6425E46DBD38}"/>
    <dgm:cxn modelId="{9386FBEF-21C8-4AC4-A18A-639D5263B30D}" srcId="{7AAA4C43-D9DB-4F29-97D7-E3B947716ECF}" destId="{5445597E-6F6D-483D-8CAA-595C87CE0824}" srcOrd="0" destOrd="0" parTransId="{C1E45238-B037-4233-A442-01B7335DFA58}" sibTransId="{5945E832-22AE-4E33-815C-7DC34A4E92E3}"/>
    <dgm:cxn modelId="{01A970F7-EB66-4EFD-B44C-0A836F8B623A}" srcId="{7F5C0123-C219-49A7-818E-E9F625B5AD27}" destId="{0BEAA0A9-341B-4934-A45F-5E87E1EDFD82}" srcOrd="0" destOrd="0" parTransId="{8DC7011F-D8AD-445D-BD69-222D3242E28F}" sibTransId="{5EC97181-A796-47A0-A144-2F3FEF7879B5}"/>
    <dgm:cxn modelId="{D0695E84-1959-461E-AF62-A75B3E7F50B1}" type="presParOf" srcId="{8EAE4144-476E-4E43-A493-21D0BD4D4553}" destId="{58AEB30C-265E-4A68-862B-B8BFCFBB49AF}" srcOrd="0" destOrd="0" presId="urn:microsoft.com/office/officeart/2005/8/layout/list1"/>
    <dgm:cxn modelId="{B440AE2C-5F0E-4EA9-AEE6-AAFBAC96765A}" type="presParOf" srcId="{58AEB30C-265E-4A68-862B-B8BFCFBB49AF}" destId="{7C5D412E-EC6A-4D9B-8054-38C3BFA5DCC3}" srcOrd="0" destOrd="0" presId="urn:microsoft.com/office/officeart/2005/8/layout/list1"/>
    <dgm:cxn modelId="{383E2630-7C3B-4872-BA9B-0A2048FC07A9}" type="presParOf" srcId="{58AEB30C-265E-4A68-862B-B8BFCFBB49AF}" destId="{8C141144-BE9A-4ADC-8E56-27B68CEDA7A5}" srcOrd="1" destOrd="0" presId="urn:microsoft.com/office/officeart/2005/8/layout/list1"/>
    <dgm:cxn modelId="{CF5B96DF-A205-41B0-B496-FB2375B08AFD}" type="presParOf" srcId="{8EAE4144-476E-4E43-A493-21D0BD4D4553}" destId="{B6BB2708-00C5-4F13-B9CE-4536541B3523}" srcOrd="1" destOrd="0" presId="urn:microsoft.com/office/officeart/2005/8/layout/list1"/>
    <dgm:cxn modelId="{853D63F3-0735-48C7-B877-564B54D7403F}" type="presParOf" srcId="{8EAE4144-476E-4E43-A493-21D0BD4D4553}" destId="{3926BE7E-BB42-40A4-8B14-2BC2362B0DA7}" srcOrd="2" destOrd="0" presId="urn:microsoft.com/office/officeart/2005/8/layout/list1"/>
    <dgm:cxn modelId="{0EBF8A5F-4408-4D27-9BE0-AE8D8C9B7FD5}" type="presParOf" srcId="{8EAE4144-476E-4E43-A493-21D0BD4D4553}" destId="{9338B91D-26E6-46E2-8736-6ACE584B81E8}" srcOrd="3" destOrd="0" presId="urn:microsoft.com/office/officeart/2005/8/layout/list1"/>
    <dgm:cxn modelId="{8BCAEFFA-9DBC-4D86-98A9-3CB27DB49915}" type="presParOf" srcId="{8EAE4144-476E-4E43-A493-21D0BD4D4553}" destId="{4DAEA224-E93B-4988-B4B9-B139491598B5}" srcOrd="4" destOrd="0" presId="urn:microsoft.com/office/officeart/2005/8/layout/list1"/>
    <dgm:cxn modelId="{E6CCCD1A-646F-4564-9BD2-BB182ACC76AF}" type="presParOf" srcId="{4DAEA224-E93B-4988-B4B9-B139491598B5}" destId="{9F446210-9B41-4CA0-AC4D-0B862685452A}" srcOrd="0" destOrd="0" presId="urn:microsoft.com/office/officeart/2005/8/layout/list1"/>
    <dgm:cxn modelId="{71100A71-AE7B-4CC4-AA3A-7FA34DA5D023}" type="presParOf" srcId="{4DAEA224-E93B-4988-B4B9-B139491598B5}" destId="{164A6808-8EE2-47A5-93C4-FA0FBCBBA633}" srcOrd="1" destOrd="0" presId="urn:microsoft.com/office/officeart/2005/8/layout/list1"/>
    <dgm:cxn modelId="{D4745C0C-5DAD-4AB9-9E4E-AFFE433ADFAE}" type="presParOf" srcId="{8EAE4144-476E-4E43-A493-21D0BD4D4553}" destId="{4F4C6E12-71C2-48B6-A5FA-3768193F5C27}" srcOrd="5" destOrd="0" presId="urn:microsoft.com/office/officeart/2005/8/layout/list1"/>
    <dgm:cxn modelId="{74F94143-8934-4F99-A22B-0FC3F586E4C3}" type="presParOf" srcId="{8EAE4144-476E-4E43-A493-21D0BD4D4553}" destId="{87CA896E-F38B-413B-8D64-35A7D0637E54}"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5DF1438-A48A-41BF-94AA-5DEAAAD104A5}" type="doc">
      <dgm:prSet loTypeId="urn:microsoft.com/office/officeart/2005/8/layout/vList2" loCatId="list" qsTypeId="urn:microsoft.com/office/officeart/2005/8/quickstyle/simple1" qsCatId="simple" csTypeId="urn:microsoft.com/office/officeart/2005/8/colors/accent0_1" csCatId="mainScheme"/>
      <dgm:spPr/>
      <dgm:t>
        <a:bodyPr/>
        <a:lstStyle/>
        <a:p>
          <a:endParaRPr lang="en-US"/>
        </a:p>
      </dgm:t>
    </dgm:pt>
    <dgm:pt modelId="{3437F7A1-2860-435E-9596-3B90F25F8FE0}">
      <dgm:prSet/>
      <dgm:spPr/>
      <dgm:t>
        <a:bodyPr/>
        <a:lstStyle/>
        <a:p>
          <a:r>
            <a:rPr lang="en-US" b="1"/>
            <a:t>PageFID </a:t>
          </a:r>
          <a:r>
            <a:rPr lang="en-US"/>
            <a:t>– The file ID of the current page</a:t>
          </a:r>
        </a:p>
      </dgm:t>
    </dgm:pt>
    <dgm:pt modelId="{8E451005-3CB5-4313-B248-BEABE208FEDF}" type="parTrans" cxnId="{9DDB6C5B-19B0-4D75-9C90-B23173AC0FF0}">
      <dgm:prSet/>
      <dgm:spPr/>
      <dgm:t>
        <a:bodyPr/>
        <a:lstStyle/>
        <a:p>
          <a:endParaRPr lang="en-US"/>
        </a:p>
      </dgm:t>
    </dgm:pt>
    <dgm:pt modelId="{98F77B6D-D62C-45A2-8493-57B2885B937F}" type="sibTrans" cxnId="{9DDB6C5B-19B0-4D75-9C90-B23173AC0FF0}">
      <dgm:prSet/>
      <dgm:spPr/>
      <dgm:t>
        <a:bodyPr/>
        <a:lstStyle/>
        <a:p>
          <a:endParaRPr lang="en-US"/>
        </a:p>
      </dgm:t>
    </dgm:pt>
    <dgm:pt modelId="{E8368ED7-62C3-4592-9D3A-6DE8CC0FEE1F}">
      <dgm:prSet/>
      <dgm:spPr/>
      <dgm:t>
        <a:bodyPr/>
        <a:lstStyle/>
        <a:p>
          <a:r>
            <a:rPr lang="en-US" b="1"/>
            <a:t>PagePID</a:t>
          </a:r>
          <a:r>
            <a:rPr lang="en-US"/>
            <a:t> – The page number in the file </a:t>
          </a:r>
        </a:p>
      </dgm:t>
    </dgm:pt>
    <dgm:pt modelId="{EAF57673-EBF7-4E36-B53B-1DA418242ACA}" type="parTrans" cxnId="{854D8C6B-3FC1-408A-8E11-F1111C811F80}">
      <dgm:prSet/>
      <dgm:spPr/>
      <dgm:t>
        <a:bodyPr/>
        <a:lstStyle/>
        <a:p>
          <a:endParaRPr lang="en-US"/>
        </a:p>
      </dgm:t>
    </dgm:pt>
    <dgm:pt modelId="{FBDDA0A0-19FB-4BDB-937D-50B2771E0AB7}" type="sibTrans" cxnId="{854D8C6B-3FC1-408A-8E11-F1111C811F80}">
      <dgm:prSet/>
      <dgm:spPr/>
      <dgm:t>
        <a:bodyPr/>
        <a:lstStyle/>
        <a:p>
          <a:endParaRPr lang="en-US"/>
        </a:p>
      </dgm:t>
    </dgm:pt>
    <dgm:pt modelId="{7DC76AA4-B6D4-46AD-8EF3-AAAB97582B8B}">
      <dgm:prSet/>
      <dgm:spPr/>
      <dgm:t>
        <a:bodyPr/>
        <a:lstStyle/>
        <a:p>
          <a:r>
            <a:rPr lang="en-US" b="1"/>
            <a:t>IAMFID</a:t>
          </a:r>
          <a:r>
            <a:rPr lang="en-US"/>
            <a:t> – The file ID of the IAM page that maps this page</a:t>
          </a:r>
        </a:p>
      </dgm:t>
    </dgm:pt>
    <dgm:pt modelId="{B961E49B-9E9B-4596-A150-CB32369B4087}" type="parTrans" cxnId="{CAEC3558-E3CB-4506-B611-9FF87E5E793A}">
      <dgm:prSet/>
      <dgm:spPr/>
      <dgm:t>
        <a:bodyPr/>
        <a:lstStyle/>
        <a:p>
          <a:endParaRPr lang="en-US"/>
        </a:p>
      </dgm:t>
    </dgm:pt>
    <dgm:pt modelId="{4132405A-B3F4-42F5-B54F-09D6CB6CFD63}" type="sibTrans" cxnId="{CAEC3558-E3CB-4506-B611-9FF87E5E793A}">
      <dgm:prSet/>
      <dgm:spPr/>
      <dgm:t>
        <a:bodyPr/>
        <a:lstStyle/>
        <a:p>
          <a:endParaRPr lang="en-US"/>
        </a:p>
      </dgm:t>
    </dgm:pt>
    <dgm:pt modelId="{DE8EA767-8E45-4CA7-88AD-14C47413CF11}">
      <dgm:prSet/>
      <dgm:spPr/>
      <dgm:t>
        <a:bodyPr/>
        <a:lstStyle/>
        <a:p>
          <a:r>
            <a:rPr lang="en-US" b="1" dirty="0"/>
            <a:t>IAMPID</a:t>
          </a:r>
          <a:r>
            <a:rPr lang="en-US" dirty="0"/>
            <a:t> – The page number in the file of the IAM page</a:t>
          </a:r>
        </a:p>
      </dgm:t>
    </dgm:pt>
    <dgm:pt modelId="{55A3822C-A039-415C-8CCB-83935F972DD9}" type="parTrans" cxnId="{BE9F2F16-3136-4074-A56B-E4A0B454EE7C}">
      <dgm:prSet/>
      <dgm:spPr/>
      <dgm:t>
        <a:bodyPr/>
        <a:lstStyle/>
        <a:p>
          <a:endParaRPr lang="en-US"/>
        </a:p>
      </dgm:t>
    </dgm:pt>
    <dgm:pt modelId="{6BA54678-81E3-4960-8B15-79B64D413858}" type="sibTrans" cxnId="{BE9F2F16-3136-4074-A56B-E4A0B454EE7C}">
      <dgm:prSet/>
      <dgm:spPr/>
      <dgm:t>
        <a:bodyPr/>
        <a:lstStyle/>
        <a:p>
          <a:endParaRPr lang="en-US"/>
        </a:p>
      </dgm:t>
    </dgm:pt>
    <dgm:pt modelId="{5F74F86F-73E2-4D1D-B064-0E67772E8E30}">
      <dgm:prSet/>
      <dgm:spPr/>
      <dgm:t>
        <a:bodyPr/>
        <a:lstStyle/>
        <a:p>
          <a:r>
            <a:rPr lang="en-US" b="1"/>
            <a:t>ObjectID </a:t>
          </a:r>
          <a:r>
            <a:rPr lang="en-US"/>
            <a:t>– The object id of the current page</a:t>
          </a:r>
        </a:p>
      </dgm:t>
    </dgm:pt>
    <dgm:pt modelId="{C5FFFD6C-E06B-4CFE-9174-1B91219EC746}" type="parTrans" cxnId="{6A497F27-C7AE-41AE-96B8-23D2AB10AEA1}">
      <dgm:prSet/>
      <dgm:spPr/>
      <dgm:t>
        <a:bodyPr/>
        <a:lstStyle/>
        <a:p>
          <a:endParaRPr lang="en-US"/>
        </a:p>
      </dgm:t>
    </dgm:pt>
    <dgm:pt modelId="{198A6238-8CF0-4F4E-B3E4-4D30B6B8DF59}" type="sibTrans" cxnId="{6A497F27-C7AE-41AE-96B8-23D2AB10AEA1}">
      <dgm:prSet/>
      <dgm:spPr/>
      <dgm:t>
        <a:bodyPr/>
        <a:lstStyle/>
        <a:p>
          <a:endParaRPr lang="en-US"/>
        </a:p>
      </dgm:t>
    </dgm:pt>
    <dgm:pt modelId="{830F274C-9957-4A1D-9124-82C3E365E656}">
      <dgm:prSet/>
      <dgm:spPr/>
      <dgm:t>
        <a:bodyPr/>
        <a:lstStyle/>
        <a:p>
          <a:r>
            <a:rPr lang="en-US" b="1"/>
            <a:t>IndexID – </a:t>
          </a:r>
          <a:r>
            <a:rPr lang="en-US"/>
            <a:t>The ID of the index of the current page</a:t>
          </a:r>
        </a:p>
      </dgm:t>
    </dgm:pt>
    <dgm:pt modelId="{2D355064-3FB7-46A4-8F34-25DCC5E42AF3}" type="parTrans" cxnId="{0560D9DD-0714-4B11-B6C2-90139AF7A380}">
      <dgm:prSet/>
      <dgm:spPr/>
      <dgm:t>
        <a:bodyPr/>
        <a:lstStyle/>
        <a:p>
          <a:endParaRPr lang="en-US"/>
        </a:p>
      </dgm:t>
    </dgm:pt>
    <dgm:pt modelId="{DCA5691D-1546-44F3-B405-48AF921F4AC9}" type="sibTrans" cxnId="{0560D9DD-0714-4B11-B6C2-90139AF7A380}">
      <dgm:prSet/>
      <dgm:spPr/>
      <dgm:t>
        <a:bodyPr/>
        <a:lstStyle/>
        <a:p>
          <a:endParaRPr lang="en-US"/>
        </a:p>
      </dgm:t>
    </dgm:pt>
    <dgm:pt modelId="{3380B430-5EF4-4802-94E0-313029AD77C9}">
      <dgm:prSet/>
      <dgm:spPr/>
      <dgm:t>
        <a:bodyPr/>
        <a:lstStyle/>
        <a:p>
          <a:r>
            <a:rPr lang="en-US" b="1"/>
            <a:t>PartitionNumber</a:t>
          </a:r>
          <a:r>
            <a:rPr lang="en-US"/>
            <a:t>– Partition of the current page</a:t>
          </a:r>
        </a:p>
      </dgm:t>
    </dgm:pt>
    <dgm:pt modelId="{D7F5B1AB-1709-4B72-884A-44A40ECC13A0}" type="parTrans" cxnId="{347DAB67-0FA0-4E21-87B1-C052D9F23DAC}">
      <dgm:prSet/>
      <dgm:spPr/>
      <dgm:t>
        <a:bodyPr/>
        <a:lstStyle/>
        <a:p>
          <a:endParaRPr lang="en-US"/>
        </a:p>
      </dgm:t>
    </dgm:pt>
    <dgm:pt modelId="{7E9A0830-EA67-4548-A623-708B52E760D7}" type="sibTrans" cxnId="{347DAB67-0FA0-4E21-87B1-C052D9F23DAC}">
      <dgm:prSet/>
      <dgm:spPr/>
      <dgm:t>
        <a:bodyPr/>
        <a:lstStyle/>
        <a:p>
          <a:endParaRPr lang="en-US"/>
        </a:p>
      </dgm:t>
    </dgm:pt>
    <dgm:pt modelId="{14636FCD-39D2-487A-961E-BB051C811D1D}">
      <dgm:prSet/>
      <dgm:spPr/>
      <dgm:t>
        <a:bodyPr/>
        <a:lstStyle/>
        <a:p>
          <a:r>
            <a:rPr lang="en-US" b="1"/>
            <a:t>PartitionID </a:t>
          </a:r>
          <a:r>
            <a:rPr lang="en-US"/>
            <a:t>-  The internal ID of the partition</a:t>
          </a:r>
        </a:p>
      </dgm:t>
    </dgm:pt>
    <dgm:pt modelId="{A43F492B-24B7-4E15-933B-DBED67A02A39}" type="parTrans" cxnId="{0687AB2B-17D7-4792-85A7-8472E14CEBF8}">
      <dgm:prSet/>
      <dgm:spPr/>
      <dgm:t>
        <a:bodyPr/>
        <a:lstStyle/>
        <a:p>
          <a:endParaRPr lang="en-US"/>
        </a:p>
      </dgm:t>
    </dgm:pt>
    <dgm:pt modelId="{87E92261-DCD9-4ED5-BDAB-C01A35396E24}" type="sibTrans" cxnId="{0687AB2B-17D7-4792-85A7-8472E14CEBF8}">
      <dgm:prSet/>
      <dgm:spPr/>
      <dgm:t>
        <a:bodyPr/>
        <a:lstStyle/>
        <a:p>
          <a:endParaRPr lang="en-US"/>
        </a:p>
      </dgm:t>
    </dgm:pt>
    <dgm:pt modelId="{C46A9254-5CFD-4F44-9A5D-146F7C9E10C2}" type="pres">
      <dgm:prSet presAssocID="{05DF1438-A48A-41BF-94AA-5DEAAAD104A5}" presName="linear" presStyleCnt="0">
        <dgm:presLayoutVars>
          <dgm:animLvl val="lvl"/>
          <dgm:resizeHandles val="exact"/>
        </dgm:presLayoutVars>
      </dgm:prSet>
      <dgm:spPr/>
    </dgm:pt>
    <dgm:pt modelId="{D53424F4-353D-41D3-B9AC-2F0E4F3FE358}" type="pres">
      <dgm:prSet presAssocID="{3437F7A1-2860-435E-9596-3B90F25F8FE0}" presName="parentText" presStyleLbl="node1" presStyleIdx="0" presStyleCnt="8">
        <dgm:presLayoutVars>
          <dgm:chMax val="0"/>
          <dgm:bulletEnabled val="1"/>
        </dgm:presLayoutVars>
      </dgm:prSet>
      <dgm:spPr/>
    </dgm:pt>
    <dgm:pt modelId="{095F87CB-8A11-4C25-9C8B-0BFDAADBBA16}" type="pres">
      <dgm:prSet presAssocID="{98F77B6D-D62C-45A2-8493-57B2885B937F}" presName="spacer" presStyleCnt="0"/>
      <dgm:spPr/>
    </dgm:pt>
    <dgm:pt modelId="{9A2B0BFA-FE08-4CCD-A4C8-2AF149A654F4}" type="pres">
      <dgm:prSet presAssocID="{E8368ED7-62C3-4592-9D3A-6DE8CC0FEE1F}" presName="parentText" presStyleLbl="node1" presStyleIdx="1" presStyleCnt="8">
        <dgm:presLayoutVars>
          <dgm:chMax val="0"/>
          <dgm:bulletEnabled val="1"/>
        </dgm:presLayoutVars>
      </dgm:prSet>
      <dgm:spPr/>
    </dgm:pt>
    <dgm:pt modelId="{AD12C219-AA20-484F-AA99-1F63FEAD9056}" type="pres">
      <dgm:prSet presAssocID="{FBDDA0A0-19FB-4BDB-937D-50B2771E0AB7}" presName="spacer" presStyleCnt="0"/>
      <dgm:spPr/>
    </dgm:pt>
    <dgm:pt modelId="{8A8CEB9E-D0B2-4EF2-8138-3C39475D1952}" type="pres">
      <dgm:prSet presAssocID="{7DC76AA4-B6D4-46AD-8EF3-AAAB97582B8B}" presName="parentText" presStyleLbl="node1" presStyleIdx="2" presStyleCnt="8">
        <dgm:presLayoutVars>
          <dgm:chMax val="0"/>
          <dgm:bulletEnabled val="1"/>
        </dgm:presLayoutVars>
      </dgm:prSet>
      <dgm:spPr/>
    </dgm:pt>
    <dgm:pt modelId="{19EDA989-92A9-43A1-B4A0-D5F2CE15B68C}" type="pres">
      <dgm:prSet presAssocID="{4132405A-B3F4-42F5-B54F-09D6CB6CFD63}" presName="spacer" presStyleCnt="0"/>
      <dgm:spPr/>
    </dgm:pt>
    <dgm:pt modelId="{547BE4BA-CD7C-4BE2-8BA1-EFE24EB10AAA}" type="pres">
      <dgm:prSet presAssocID="{DE8EA767-8E45-4CA7-88AD-14C47413CF11}" presName="parentText" presStyleLbl="node1" presStyleIdx="3" presStyleCnt="8">
        <dgm:presLayoutVars>
          <dgm:chMax val="0"/>
          <dgm:bulletEnabled val="1"/>
        </dgm:presLayoutVars>
      </dgm:prSet>
      <dgm:spPr/>
    </dgm:pt>
    <dgm:pt modelId="{3D7650E8-C908-4841-90C5-2941081C7ECF}" type="pres">
      <dgm:prSet presAssocID="{6BA54678-81E3-4960-8B15-79B64D413858}" presName="spacer" presStyleCnt="0"/>
      <dgm:spPr/>
    </dgm:pt>
    <dgm:pt modelId="{9E14505C-6572-4436-994B-BB106BB27B8B}" type="pres">
      <dgm:prSet presAssocID="{5F74F86F-73E2-4D1D-B064-0E67772E8E30}" presName="parentText" presStyleLbl="node1" presStyleIdx="4" presStyleCnt="8">
        <dgm:presLayoutVars>
          <dgm:chMax val="0"/>
          <dgm:bulletEnabled val="1"/>
        </dgm:presLayoutVars>
      </dgm:prSet>
      <dgm:spPr/>
    </dgm:pt>
    <dgm:pt modelId="{D7973ADD-1427-483C-B3CC-46A708776BA9}" type="pres">
      <dgm:prSet presAssocID="{198A6238-8CF0-4F4E-B3E4-4D30B6B8DF59}" presName="spacer" presStyleCnt="0"/>
      <dgm:spPr/>
    </dgm:pt>
    <dgm:pt modelId="{A4D89E56-AD83-42DA-8E77-4823B159FAA4}" type="pres">
      <dgm:prSet presAssocID="{830F274C-9957-4A1D-9124-82C3E365E656}" presName="parentText" presStyleLbl="node1" presStyleIdx="5" presStyleCnt="8">
        <dgm:presLayoutVars>
          <dgm:chMax val="0"/>
          <dgm:bulletEnabled val="1"/>
        </dgm:presLayoutVars>
      </dgm:prSet>
      <dgm:spPr/>
    </dgm:pt>
    <dgm:pt modelId="{9F69EA7B-6392-47D4-B159-934B0FE3A637}" type="pres">
      <dgm:prSet presAssocID="{DCA5691D-1546-44F3-B405-48AF921F4AC9}" presName="spacer" presStyleCnt="0"/>
      <dgm:spPr/>
    </dgm:pt>
    <dgm:pt modelId="{B49459A7-C9FB-4700-AA11-36CB3CCECF64}" type="pres">
      <dgm:prSet presAssocID="{3380B430-5EF4-4802-94E0-313029AD77C9}" presName="parentText" presStyleLbl="node1" presStyleIdx="6" presStyleCnt="8">
        <dgm:presLayoutVars>
          <dgm:chMax val="0"/>
          <dgm:bulletEnabled val="1"/>
        </dgm:presLayoutVars>
      </dgm:prSet>
      <dgm:spPr/>
    </dgm:pt>
    <dgm:pt modelId="{E5CDE760-F913-407F-A272-034F0B5C8B4C}" type="pres">
      <dgm:prSet presAssocID="{7E9A0830-EA67-4548-A623-708B52E760D7}" presName="spacer" presStyleCnt="0"/>
      <dgm:spPr/>
    </dgm:pt>
    <dgm:pt modelId="{FB4976BD-8DAA-4F5E-B7C4-D80CA4132B00}" type="pres">
      <dgm:prSet presAssocID="{14636FCD-39D2-487A-961E-BB051C811D1D}" presName="parentText" presStyleLbl="node1" presStyleIdx="7" presStyleCnt="8">
        <dgm:presLayoutVars>
          <dgm:chMax val="0"/>
          <dgm:bulletEnabled val="1"/>
        </dgm:presLayoutVars>
      </dgm:prSet>
      <dgm:spPr/>
    </dgm:pt>
  </dgm:ptLst>
  <dgm:cxnLst>
    <dgm:cxn modelId="{BE9F2F16-3136-4074-A56B-E4A0B454EE7C}" srcId="{05DF1438-A48A-41BF-94AA-5DEAAAD104A5}" destId="{DE8EA767-8E45-4CA7-88AD-14C47413CF11}" srcOrd="3" destOrd="0" parTransId="{55A3822C-A039-415C-8CCB-83935F972DD9}" sibTransId="{6BA54678-81E3-4960-8B15-79B64D413858}"/>
    <dgm:cxn modelId="{89DAB21A-6BA2-4934-B5A6-1D1143E99568}" type="presOf" srcId="{14636FCD-39D2-487A-961E-BB051C811D1D}" destId="{FB4976BD-8DAA-4F5E-B7C4-D80CA4132B00}" srcOrd="0" destOrd="0" presId="urn:microsoft.com/office/officeart/2005/8/layout/vList2"/>
    <dgm:cxn modelId="{6A497F27-C7AE-41AE-96B8-23D2AB10AEA1}" srcId="{05DF1438-A48A-41BF-94AA-5DEAAAD104A5}" destId="{5F74F86F-73E2-4D1D-B064-0E67772E8E30}" srcOrd="4" destOrd="0" parTransId="{C5FFFD6C-E06B-4CFE-9174-1B91219EC746}" sibTransId="{198A6238-8CF0-4F4E-B3E4-4D30B6B8DF59}"/>
    <dgm:cxn modelId="{0687AB2B-17D7-4792-85A7-8472E14CEBF8}" srcId="{05DF1438-A48A-41BF-94AA-5DEAAAD104A5}" destId="{14636FCD-39D2-487A-961E-BB051C811D1D}" srcOrd="7" destOrd="0" parTransId="{A43F492B-24B7-4E15-933B-DBED67A02A39}" sibTransId="{87E92261-DCD9-4ED5-BDAB-C01A35396E24}"/>
    <dgm:cxn modelId="{6935C430-C8D6-41EE-A63A-B3F3B78512C1}" type="presOf" srcId="{830F274C-9957-4A1D-9124-82C3E365E656}" destId="{A4D89E56-AD83-42DA-8E77-4823B159FAA4}" srcOrd="0" destOrd="0" presId="urn:microsoft.com/office/officeart/2005/8/layout/vList2"/>
    <dgm:cxn modelId="{9DDB6C5B-19B0-4D75-9C90-B23173AC0FF0}" srcId="{05DF1438-A48A-41BF-94AA-5DEAAAD104A5}" destId="{3437F7A1-2860-435E-9596-3B90F25F8FE0}" srcOrd="0" destOrd="0" parTransId="{8E451005-3CB5-4313-B248-BEABE208FEDF}" sibTransId="{98F77B6D-D62C-45A2-8493-57B2885B937F}"/>
    <dgm:cxn modelId="{D5FC1A60-FEE2-46E8-A981-B646BA0FB572}" type="presOf" srcId="{5F74F86F-73E2-4D1D-B064-0E67772E8E30}" destId="{9E14505C-6572-4436-994B-BB106BB27B8B}" srcOrd="0" destOrd="0" presId="urn:microsoft.com/office/officeart/2005/8/layout/vList2"/>
    <dgm:cxn modelId="{0B37AF60-89B4-40D4-9A46-F58DEB9B49D4}" type="presOf" srcId="{05DF1438-A48A-41BF-94AA-5DEAAAD104A5}" destId="{C46A9254-5CFD-4F44-9A5D-146F7C9E10C2}" srcOrd="0" destOrd="0" presId="urn:microsoft.com/office/officeart/2005/8/layout/vList2"/>
    <dgm:cxn modelId="{347DAB67-0FA0-4E21-87B1-C052D9F23DAC}" srcId="{05DF1438-A48A-41BF-94AA-5DEAAAD104A5}" destId="{3380B430-5EF4-4802-94E0-313029AD77C9}" srcOrd="6" destOrd="0" parTransId="{D7F5B1AB-1709-4B72-884A-44A40ECC13A0}" sibTransId="{7E9A0830-EA67-4548-A623-708B52E760D7}"/>
    <dgm:cxn modelId="{854D8C6B-3FC1-408A-8E11-F1111C811F80}" srcId="{05DF1438-A48A-41BF-94AA-5DEAAAD104A5}" destId="{E8368ED7-62C3-4592-9D3A-6DE8CC0FEE1F}" srcOrd="1" destOrd="0" parTransId="{EAF57673-EBF7-4E36-B53B-1DA418242ACA}" sibTransId="{FBDDA0A0-19FB-4BDB-937D-50B2771E0AB7}"/>
    <dgm:cxn modelId="{8D5EE96D-5C75-4A5D-98C4-FC30F097E16B}" type="presOf" srcId="{E8368ED7-62C3-4592-9D3A-6DE8CC0FEE1F}" destId="{9A2B0BFA-FE08-4CCD-A4C8-2AF149A654F4}" srcOrd="0" destOrd="0" presId="urn:microsoft.com/office/officeart/2005/8/layout/vList2"/>
    <dgm:cxn modelId="{27426073-1CB6-47A9-B8E5-DD699BA6E867}" type="presOf" srcId="{DE8EA767-8E45-4CA7-88AD-14C47413CF11}" destId="{547BE4BA-CD7C-4BE2-8BA1-EFE24EB10AAA}" srcOrd="0" destOrd="0" presId="urn:microsoft.com/office/officeart/2005/8/layout/vList2"/>
    <dgm:cxn modelId="{CAEC3558-E3CB-4506-B611-9FF87E5E793A}" srcId="{05DF1438-A48A-41BF-94AA-5DEAAAD104A5}" destId="{7DC76AA4-B6D4-46AD-8EF3-AAAB97582B8B}" srcOrd="2" destOrd="0" parTransId="{B961E49B-9E9B-4596-A150-CB32369B4087}" sibTransId="{4132405A-B3F4-42F5-B54F-09D6CB6CFD63}"/>
    <dgm:cxn modelId="{0560D9DD-0714-4B11-B6C2-90139AF7A380}" srcId="{05DF1438-A48A-41BF-94AA-5DEAAAD104A5}" destId="{830F274C-9957-4A1D-9124-82C3E365E656}" srcOrd="5" destOrd="0" parTransId="{2D355064-3FB7-46A4-8F34-25DCC5E42AF3}" sibTransId="{DCA5691D-1546-44F3-B405-48AF921F4AC9}"/>
    <dgm:cxn modelId="{74439CE2-705C-40FF-8636-F161AC550B60}" type="presOf" srcId="{3380B430-5EF4-4802-94E0-313029AD77C9}" destId="{B49459A7-C9FB-4700-AA11-36CB3CCECF64}" srcOrd="0" destOrd="0" presId="urn:microsoft.com/office/officeart/2005/8/layout/vList2"/>
    <dgm:cxn modelId="{C9C5D6E3-795C-4EE9-87B1-8D7B2DCDDB58}" type="presOf" srcId="{7DC76AA4-B6D4-46AD-8EF3-AAAB97582B8B}" destId="{8A8CEB9E-D0B2-4EF2-8138-3C39475D1952}" srcOrd="0" destOrd="0" presId="urn:microsoft.com/office/officeart/2005/8/layout/vList2"/>
    <dgm:cxn modelId="{E436F8F6-4D9A-4BBE-8351-54F50A5404A2}" type="presOf" srcId="{3437F7A1-2860-435E-9596-3B90F25F8FE0}" destId="{D53424F4-353D-41D3-B9AC-2F0E4F3FE358}" srcOrd="0" destOrd="0" presId="urn:microsoft.com/office/officeart/2005/8/layout/vList2"/>
    <dgm:cxn modelId="{DD818CDF-AA59-4C38-9F87-B693B01FE7E2}" type="presParOf" srcId="{C46A9254-5CFD-4F44-9A5D-146F7C9E10C2}" destId="{D53424F4-353D-41D3-B9AC-2F0E4F3FE358}" srcOrd="0" destOrd="0" presId="urn:microsoft.com/office/officeart/2005/8/layout/vList2"/>
    <dgm:cxn modelId="{707C4D43-9D9A-4DEB-9250-D20825B37F8D}" type="presParOf" srcId="{C46A9254-5CFD-4F44-9A5D-146F7C9E10C2}" destId="{095F87CB-8A11-4C25-9C8B-0BFDAADBBA16}" srcOrd="1" destOrd="0" presId="urn:microsoft.com/office/officeart/2005/8/layout/vList2"/>
    <dgm:cxn modelId="{7CD3F41F-9C59-44B1-A328-0ED715F3E398}" type="presParOf" srcId="{C46A9254-5CFD-4F44-9A5D-146F7C9E10C2}" destId="{9A2B0BFA-FE08-4CCD-A4C8-2AF149A654F4}" srcOrd="2" destOrd="0" presId="urn:microsoft.com/office/officeart/2005/8/layout/vList2"/>
    <dgm:cxn modelId="{D170EAB9-60A2-4BDC-A17A-0904D35AE976}" type="presParOf" srcId="{C46A9254-5CFD-4F44-9A5D-146F7C9E10C2}" destId="{AD12C219-AA20-484F-AA99-1F63FEAD9056}" srcOrd="3" destOrd="0" presId="urn:microsoft.com/office/officeart/2005/8/layout/vList2"/>
    <dgm:cxn modelId="{722E8374-50EE-43A3-89C4-FBF8C9CA741C}" type="presParOf" srcId="{C46A9254-5CFD-4F44-9A5D-146F7C9E10C2}" destId="{8A8CEB9E-D0B2-4EF2-8138-3C39475D1952}" srcOrd="4" destOrd="0" presId="urn:microsoft.com/office/officeart/2005/8/layout/vList2"/>
    <dgm:cxn modelId="{F23A3097-72F1-4C47-AC03-331D7E32DA25}" type="presParOf" srcId="{C46A9254-5CFD-4F44-9A5D-146F7C9E10C2}" destId="{19EDA989-92A9-43A1-B4A0-D5F2CE15B68C}" srcOrd="5" destOrd="0" presId="urn:microsoft.com/office/officeart/2005/8/layout/vList2"/>
    <dgm:cxn modelId="{EA99E643-55F2-4748-88F4-68C6B722BE83}" type="presParOf" srcId="{C46A9254-5CFD-4F44-9A5D-146F7C9E10C2}" destId="{547BE4BA-CD7C-4BE2-8BA1-EFE24EB10AAA}" srcOrd="6" destOrd="0" presId="urn:microsoft.com/office/officeart/2005/8/layout/vList2"/>
    <dgm:cxn modelId="{9AAE8D03-BA14-48B1-A3C1-0C971C89DBCA}" type="presParOf" srcId="{C46A9254-5CFD-4F44-9A5D-146F7C9E10C2}" destId="{3D7650E8-C908-4841-90C5-2941081C7ECF}" srcOrd="7" destOrd="0" presId="urn:microsoft.com/office/officeart/2005/8/layout/vList2"/>
    <dgm:cxn modelId="{6C58BDE3-4458-4CEC-B85D-7B44D705FDBE}" type="presParOf" srcId="{C46A9254-5CFD-4F44-9A5D-146F7C9E10C2}" destId="{9E14505C-6572-4436-994B-BB106BB27B8B}" srcOrd="8" destOrd="0" presId="urn:microsoft.com/office/officeart/2005/8/layout/vList2"/>
    <dgm:cxn modelId="{694D5C6C-6D8F-44A4-9A3C-C3C198EF9940}" type="presParOf" srcId="{C46A9254-5CFD-4F44-9A5D-146F7C9E10C2}" destId="{D7973ADD-1427-483C-B3CC-46A708776BA9}" srcOrd="9" destOrd="0" presId="urn:microsoft.com/office/officeart/2005/8/layout/vList2"/>
    <dgm:cxn modelId="{84899C1E-C277-42BD-82CE-5CA9CF13D9CD}" type="presParOf" srcId="{C46A9254-5CFD-4F44-9A5D-146F7C9E10C2}" destId="{A4D89E56-AD83-42DA-8E77-4823B159FAA4}" srcOrd="10" destOrd="0" presId="urn:microsoft.com/office/officeart/2005/8/layout/vList2"/>
    <dgm:cxn modelId="{01507767-C77B-4130-BD68-311390DCC457}" type="presParOf" srcId="{C46A9254-5CFD-4F44-9A5D-146F7C9E10C2}" destId="{9F69EA7B-6392-47D4-B159-934B0FE3A637}" srcOrd="11" destOrd="0" presId="urn:microsoft.com/office/officeart/2005/8/layout/vList2"/>
    <dgm:cxn modelId="{779A4079-223D-4120-9044-F5468E0D83F7}" type="presParOf" srcId="{C46A9254-5CFD-4F44-9A5D-146F7C9E10C2}" destId="{B49459A7-C9FB-4700-AA11-36CB3CCECF64}" srcOrd="12" destOrd="0" presId="urn:microsoft.com/office/officeart/2005/8/layout/vList2"/>
    <dgm:cxn modelId="{67716DBC-F30E-458A-940C-4F8E220D3C2B}" type="presParOf" srcId="{C46A9254-5CFD-4F44-9A5D-146F7C9E10C2}" destId="{E5CDE760-F913-407F-A272-034F0B5C8B4C}" srcOrd="13" destOrd="0" presId="urn:microsoft.com/office/officeart/2005/8/layout/vList2"/>
    <dgm:cxn modelId="{8218C167-15EB-43F7-B5C4-AF176EF92203}" type="presParOf" srcId="{C46A9254-5CFD-4F44-9A5D-146F7C9E10C2}" destId="{FB4976BD-8DAA-4F5E-B7C4-D80CA4132B00}" srcOrd="1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71FFFB-0C07-46EB-98E7-73F93EBE0534}"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9378453D-1111-4D8D-9D88-7CFCCC546E00}">
      <dgm:prSet/>
      <dgm:spPr/>
      <dgm:t>
        <a:bodyPr/>
        <a:lstStyle/>
        <a:p>
          <a:r>
            <a:rPr lang="en-US" b="1" baseline="0" dirty="0" err="1"/>
            <a:t>iam_chain_type</a:t>
          </a:r>
          <a:r>
            <a:rPr lang="en-US" b="1" baseline="0" dirty="0"/>
            <a:t>: </a:t>
          </a:r>
          <a:r>
            <a:rPr lang="en-US" baseline="0" dirty="0"/>
            <a:t>Type of allocation storage</a:t>
          </a:r>
          <a:endParaRPr lang="en-US" dirty="0"/>
        </a:p>
      </dgm:t>
    </dgm:pt>
    <dgm:pt modelId="{275BFC57-A3E1-4665-8DA8-6A0C6A2DD94D}" type="parTrans" cxnId="{9B9A2828-74F2-4293-89ED-888BE58A6848}">
      <dgm:prSet/>
      <dgm:spPr/>
      <dgm:t>
        <a:bodyPr/>
        <a:lstStyle/>
        <a:p>
          <a:endParaRPr lang="en-US"/>
        </a:p>
      </dgm:t>
    </dgm:pt>
    <dgm:pt modelId="{42C61106-0156-497D-B4BD-7CA13EB13F25}" type="sibTrans" cxnId="{9B9A2828-74F2-4293-89ED-888BE58A6848}">
      <dgm:prSet/>
      <dgm:spPr/>
      <dgm:t>
        <a:bodyPr/>
        <a:lstStyle/>
        <a:p>
          <a:endParaRPr lang="en-US"/>
        </a:p>
      </dgm:t>
    </dgm:pt>
    <dgm:pt modelId="{D75FA3AF-1981-4F79-BED2-C53D87E1E548}">
      <dgm:prSet/>
      <dgm:spPr/>
      <dgm:t>
        <a:bodyPr/>
        <a:lstStyle/>
        <a:p>
          <a:r>
            <a:rPr lang="en-US" b="1" baseline="0"/>
            <a:t>Index Level: </a:t>
          </a:r>
          <a:r>
            <a:rPr lang="en-US" baseline="0"/>
            <a:t>Level the page is in the index</a:t>
          </a:r>
          <a:endParaRPr lang="en-US"/>
        </a:p>
      </dgm:t>
    </dgm:pt>
    <dgm:pt modelId="{8CCCF2F0-360D-47E4-A358-FBC8E74D3275}" type="parTrans" cxnId="{8A7C8996-859A-440E-8A0C-F2DC7D40B047}">
      <dgm:prSet/>
      <dgm:spPr/>
      <dgm:t>
        <a:bodyPr/>
        <a:lstStyle/>
        <a:p>
          <a:endParaRPr lang="en-US"/>
        </a:p>
      </dgm:t>
    </dgm:pt>
    <dgm:pt modelId="{617BB264-BBC6-41B5-A83A-49E7E0EB57F7}" type="sibTrans" cxnId="{8A7C8996-859A-440E-8A0C-F2DC7D40B047}">
      <dgm:prSet/>
      <dgm:spPr/>
      <dgm:t>
        <a:bodyPr/>
        <a:lstStyle/>
        <a:p>
          <a:endParaRPr lang="en-US"/>
        </a:p>
      </dgm:t>
    </dgm:pt>
    <dgm:pt modelId="{A03B8150-66E2-49F5-8EA7-15A8C0DC6A51}">
      <dgm:prSet/>
      <dgm:spPr/>
      <dgm:t>
        <a:bodyPr/>
        <a:lstStyle/>
        <a:p>
          <a:r>
            <a:rPr lang="en-US" b="1" baseline="0" dirty="0" err="1"/>
            <a:t>NextPageFID</a:t>
          </a:r>
          <a:r>
            <a:rPr lang="en-US" b="1" baseline="0" dirty="0"/>
            <a:t>: </a:t>
          </a:r>
          <a:r>
            <a:rPr lang="en-US" baseline="0" dirty="0"/>
            <a:t>File ID of the Next File</a:t>
          </a:r>
          <a:endParaRPr lang="en-US" dirty="0"/>
        </a:p>
      </dgm:t>
    </dgm:pt>
    <dgm:pt modelId="{C74E8965-65C0-4F9A-9E0A-D3102628BC78}" type="parTrans" cxnId="{157465C0-0F07-4094-A413-6DC445FD2D17}">
      <dgm:prSet/>
      <dgm:spPr/>
      <dgm:t>
        <a:bodyPr/>
        <a:lstStyle/>
        <a:p>
          <a:endParaRPr lang="en-US"/>
        </a:p>
      </dgm:t>
    </dgm:pt>
    <dgm:pt modelId="{F5EFFE85-F46D-49C5-B9CD-F62893E82388}" type="sibTrans" cxnId="{157465C0-0F07-4094-A413-6DC445FD2D17}">
      <dgm:prSet/>
      <dgm:spPr/>
      <dgm:t>
        <a:bodyPr/>
        <a:lstStyle/>
        <a:p>
          <a:endParaRPr lang="en-US"/>
        </a:p>
      </dgm:t>
    </dgm:pt>
    <dgm:pt modelId="{C45C209E-6FA7-42CF-B8AE-0A5A1FF33396}">
      <dgm:prSet/>
      <dgm:spPr/>
      <dgm:t>
        <a:bodyPr/>
        <a:lstStyle/>
        <a:p>
          <a:r>
            <a:rPr lang="en-US" b="1" baseline="0" dirty="0" err="1"/>
            <a:t>NextPagePiD</a:t>
          </a:r>
          <a:r>
            <a:rPr lang="en-US" b="1" baseline="0" dirty="0"/>
            <a:t>: </a:t>
          </a:r>
          <a:r>
            <a:rPr lang="en-US" baseline="0" dirty="0"/>
            <a:t>Page ID of the Next Page</a:t>
          </a:r>
          <a:endParaRPr lang="en-US" dirty="0"/>
        </a:p>
      </dgm:t>
    </dgm:pt>
    <dgm:pt modelId="{01D77C2B-9E4F-4262-9628-F5C6CB5BB4A0}" type="parTrans" cxnId="{EBD4DF61-341D-4436-89BF-019C1F15156E}">
      <dgm:prSet/>
      <dgm:spPr/>
      <dgm:t>
        <a:bodyPr/>
        <a:lstStyle/>
        <a:p>
          <a:endParaRPr lang="en-US"/>
        </a:p>
      </dgm:t>
    </dgm:pt>
    <dgm:pt modelId="{B987B895-BC0F-4821-BF69-69A76AF8158C}" type="sibTrans" cxnId="{EBD4DF61-341D-4436-89BF-019C1F15156E}">
      <dgm:prSet/>
      <dgm:spPr/>
      <dgm:t>
        <a:bodyPr/>
        <a:lstStyle/>
        <a:p>
          <a:endParaRPr lang="en-US"/>
        </a:p>
      </dgm:t>
    </dgm:pt>
    <dgm:pt modelId="{2A2FC182-4AA3-4513-9E6F-A365A2B55185}">
      <dgm:prSet/>
      <dgm:spPr/>
      <dgm:t>
        <a:bodyPr/>
        <a:lstStyle/>
        <a:p>
          <a:r>
            <a:rPr lang="en-US" b="1" baseline="0"/>
            <a:t>PrevPageFID: </a:t>
          </a:r>
          <a:r>
            <a:rPr lang="en-US" baseline="0"/>
            <a:t>File ID of the Previous File</a:t>
          </a:r>
          <a:endParaRPr lang="en-US"/>
        </a:p>
      </dgm:t>
    </dgm:pt>
    <dgm:pt modelId="{3EC49292-3136-4173-8D77-2224CEF78BBF}" type="parTrans" cxnId="{FDEC26B1-4EEB-4CE2-ACCE-5481885FC58A}">
      <dgm:prSet/>
      <dgm:spPr/>
      <dgm:t>
        <a:bodyPr/>
        <a:lstStyle/>
        <a:p>
          <a:endParaRPr lang="en-US"/>
        </a:p>
      </dgm:t>
    </dgm:pt>
    <dgm:pt modelId="{3712D4B6-86E1-432F-A7D4-C2E1DD4E46CB}" type="sibTrans" cxnId="{FDEC26B1-4EEB-4CE2-ACCE-5481885FC58A}">
      <dgm:prSet/>
      <dgm:spPr/>
      <dgm:t>
        <a:bodyPr/>
        <a:lstStyle/>
        <a:p>
          <a:endParaRPr lang="en-US"/>
        </a:p>
      </dgm:t>
    </dgm:pt>
    <dgm:pt modelId="{1697888F-04A7-4CB9-80EA-AB5F8BE65FE1}">
      <dgm:prSet/>
      <dgm:spPr/>
      <dgm:t>
        <a:bodyPr/>
        <a:lstStyle/>
        <a:p>
          <a:r>
            <a:rPr lang="en-US" b="1" baseline="0"/>
            <a:t>PrevPageFID: </a:t>
          </a:r>
          <a:r>
            <a:rPr lang="en-US" baseline="0"/>
            <a:t>Page ID of the Previous Page</a:t>
          </a:r>
          <a:endParaRPr lang="en-US"/>
        </a:p>
      </dgm:t>
    </dgm:pt>
    <dgm:pt modelId="{297F98C0-4D99-442D-A8FB-340C75AB1290}" type="parTrans" cxnId="{62E77D32-EF62-47D7-9F9D-8A1404E72D65}">
      <dgm:prSet/>
      <dgm:spPr/>
      <dgm:t>
        <a:bodyPr/>
        <a:lstStyle/>
        <a:p>
          <a:endParaRPr lang="en-US"/>
        </a:p>
      </dgm:t>
    </dgm:pt>
    <dgm:pt modelId="{F62C3F11-EC17-462D-AFE2-3A5A6F0F1160}" type="sibTrans" cxnId="{62E77D32-EF62-47D7-9F9D-8A1404E72D65}">
      <dgm:prSet/>
      <dgm:spPr/>
      <dgm:t>
        <a:bodyPr/>
        <a:lstStyle/>
        <a:p>
          <a:endParaRPr lang="en-US"/>
        </a:p>
      </dgm:t>
    </dgm:pt>
    <dgm:pt modelId="{C6ED9FF4-6D38-4D57-8303-DC60C8B35F40}">
      <dgm:prSet/>
      <dgm:spPr/>
      <dgm:t>
        <a:bodyPr/>
        <a:lstStyle/>
        <a:p>
          <a:r>
            <a:rPr lang="en-US" b="1" dirty="0"/>
            <a:t>Page Type: </a:t>
          </a:r>
          <a:r>
            <a:rPr lang="en-US" dirty="0"/>
            <a:t>Type of page (Data/Index, Allocation, Recovery, Metadata)</a:t>
          </a:r>
        </a:p>
      </dgm:t>
    </dgm:pt>
    <dgm:pt modelId="{1BA1EBD5-5D69-436A-952F-F03F63169BA8}" type="parTrans" cxnId="{20CB9854-967E-4746-8ACA-88CB78EDAE1D}">
      <dgm:prSet/>
      <dgm:spPr/>
      <dgm:t>
        <a:bodyPr/>
        <a:lstStyle/>
        <a:p>
          <a:endParaRPr lang="en-US"/>
        </a:p>
      </dgm:t>
    </dgm:pt>
    <dgm:pt modelId="{186E15F2-591E-4126-95CD-6E4A9AB4ABD7}" type="sibTrans" cxnId="{20CB9854-967E-4746-8ACA-88CB78EDAE1D}">
      <dgm:prSet/>
      <dgm:spPr/>
      <dgm:t>
        <a:bodyPr/>
        <a:lstStyle/>
        <a:p>
          <a:endParaRPr lang="en-US"/>
        </a:p>
      </dgm:t>
    </dgm:pt>
    <dgm:pt modelId="{3F60C64A-4BF4-472A-A77E-CFDF089257F4}" type="pres">
      <dgm:prSet presAssocID="{4371FFFB-0C07-46EB-98E7-73F93EBE0534}" presName="linear" presStyleCnt="0">
        <dgm:presLayoutVars>
          <dgm:animLvl val="lvl"/>
          <dgm:resizeHandles val="exact"/>
        </dgm:presLayoutVars>
      </dgm:prSet>
      <dgm:spPr/>
    </dgm:pt>
    <dgm:pt modelId="{51826182-ABD6-40C5-A0D0-C0EAECFBA76D}" type="pres">
      <dgm:prSet presAssocID="{9378453D-1111-4D8D-9D88-7CFCCC546E00}" presName="parentText" presStyleLbl="node1" presStyleIdx="0" presStyleCnt="7">
        <dgm:presLayoutVars>
          <dgm:chMax val="0"/>
          <dgm:bulletEnabled val="1"/>
        </dgm:presLayoutVars>
      </dgm:prSet>
      <dgm:spPr/>
    </dgm:pt>
    <dgm:pt modelId="{4CE22A70-C957-4826-A12B-E902B28E1501}" type="pres">
      <dgm:prSet presAssocID="{42C61106-0156-497D-B4BD-7CA13EB13F25}" presName="spacer" presStyleCnt="0"/>
      <dgm:spPr/>
    </dgm:pt>
    <dgm:pt modelId="{ED28BED1-C6A2-48BB-95A1-53A31556208C}" type="pres">
      <dgm:prSet presAssocID="{C6ED9FF4-6D38-4D57-8303-DC60C8B35F40}" presName="parentText" presStyleLbl="node1" presStyleIdx="1" presStyleCnt="7">
        <dgm:presLayoutVars>
          <dgm:chMax val="0"/>
          <dgm:bulletEnabled val="1"/>
        </dgm:presLayoutVars>
      </dgm:prSet>
      <dgm:spPr/>
    </dgm:pt>
    <dgm:pt modelId="{4019D4E4-C4BA-4BC0-A974-59088644EA0E}" type="pres">
      <dgm:prSet presAssocID="{186E15F2-591E-4126-95CD-6E4A9AB4ABD7}" presName="spacer" presStyleCnt="0"/>
      <dgm:spPr/>
    </dgm:pt>
    <dgm:pt modelId="{04AD4E5B-8202-4090-BB9B-315E06520D8B}" type="pres">
      <dgm:prSet presAssocID="{D75FA3AF-1981-4F79-BED2-C53D87E1E548}" presName="parentText" presStyleLbl="node1" presStyleIdx="2" presStyleCnt="7">
        <dgm:presLayoutVars>
          <dgm:chMax val="0"/>
          <dgm:bulletEnabled val="1"/>
        </dgm:presLayoutVars>
      </dgm:prSet>
      <dgm:spPr/>
    </dgm:pt>
    <dgm:pt modelId="{DD97A550-962C-4154-85F7-02E19E21894B}" type="pres">
      <dgm:prSet presAssocID="{617BB264-BBC6-41B5-A83A-49E7E0EB57F7}" presName="spacer" presStyleCnt="0"/>
      <dgm:spPr/>
    </dgm:pt>
    <dgm:pt modelId="{963287A1-7D29-48F7-A8D0-6F4078AA58E9}" type="pres">
      <dgm:prSet presAssocID="{A03B8150-66E2-49F5-8EA7-15A8C0DC6A51}" presName="parentText" presStyleLbl="node1" presStyleIdx="3" presStyleCnt="7">
        <dgm:presLayoutVars>
          <dgm:chMax val="0"/>
          <dgm:bulletEnabled val="1"/>
        </dgm:presLayoutVars>
      </dgm:prSet>
      <dgm:spPr/>
    </dgm:pt>
    <dgm:pt modelId="{9CA15D9F-22BA-47D8-B111-448DD8D7C883}" type="pres">
      <dgm:prSet presAssocID="{F5EFFE85-F46D-49C5-B9CD-F62893E82388}" presName="spacer" presStyleCnt="0"/>
      <dgm:spPr/>
    </dgm:pt>
    <dgm:pt modelId="{4AFA4E6C-697F-47DD-ABB7-BBD9980F89D6}" type="pres">
      <dgm:prSet presAssocID="{C45C209E-6FA7-42CF-B8AE-0A5A1FF33396}" presName="parentText" presStyleLbl="node1" presStyleIdx="4" presStyleCnt="7">
        <dgm:presLayoutVars>
          <dgm:chMax val="0"/>
          <dgm:bulletEnabled val="1"/>
        </dgm:presLayoutVars>
      </dgm:prSet>
      <dgm:spPr/>
    </dgm:pt>
    <dgm:pt modelId="{0BCF14AF-5256-4F6B-AC68-9A2034D0D4B8}" type="pres">
      <dgm:prSet presAssocID="{B987B895-BC0F-4821-BF69-69A76AF8158C}" presName="spacer" presStyleCnt="0"/>
      <dgm:spPr/>
    </dgm:pt>
    <dgm:pt modelId="{B1E2EA02-3E47-4B96-BCD9-A41DA5E7A29A}" type="pres">
      <dgm:prSet presAssocID="{2A2FC182-4AA3-4513-9E6F-A365A2B55185}" presName="parentText" presStyleLbl="node1" presStyleIdx="5" presStyleCnt="7">
        <dgm:presLayoutVars>
          <dgm:chMax val="0"/>
          <dgm:bulletEnabled val="1"/>
        </dgm:presLayoutVars>
      </dgm:prSet>
      <dgm:spPr/>
    </dgm:pt>
    <dgm:pt modelId="{65D00E7A-2965-4930-82B2-3CC46724FF28}" type="pres">
      <dgm:prSet presAssocID="{3712D4B6-86E1-432F-A7D4-C2E1DD4E46CB}" presName="spacer" presStyleCnt="0"/>
      <dgm:spPr/>
    </dgm:pt>
    <dgm:pt modelId="{D6B36591-934F-4C9A-BCFE-31273E85ECE8}" type="pres">
      <dgm:prSet presAssocID="{1697888F-04A7-4CB9-80EA-AB5F8BE65FE1}" presName="parentText" presStyleLbl="node1" presStyleIdx="6" presStyleCnt="7">
        <dgm:presLayoutVars>
          <dgm:chMax val="0"/>
          <dgm:bulletEnabled val="1"/>
        </dgm:presLayoutVars>
      </dgm:prSet>
      <dgm:spPr/>
    </dgm:pt>
  </dgm:ptLst>
  <dgm:cxnLst>
    <dgm:cxn modelId="{9B9A2828-74F2-4293-89ED-888BE58A6848}" srcId="{4371FFFB-0C07-46EB-98E7-73F93EBE0534}" destId="{9378453D-1111-4D8D-9D88-7CFCCC546E00}" srcOrd="0" destOrd="0" parTransId="{275BFC57-A3E1-4665-8DA8-6A0C6A2DD94D}" sibTransId="{42C61106-0156-497D-B4BD-7CA13EB13F25}"/>
    <dgm:cxn modelId="{62E77D32-EF62-47D7-9F9D-8A1404E72D65}" srcId="{4371FFFB-0C07-46EB-98E7-73F93EBE0534}" destId="{1697888F-04A7-4CB9-80EA-AB5F8BE65FE1}" srcOrd="6" destOrd="0" parTransId="{297F98C0-4D99-442D-A8FB-340C75AB1290}" sibTransId="{F62C3F11-EC17-462D-AFE2-3A5A6F0F1160}"/>
    <dgm:cxn modelId="{39B6FD3B-672D-4D25-ACCE-37D80EDB383B}" type="presOf" srcId="{9378453D-1111-4D8D-9D88-7CFCCC546E00}" destId="{51826182-ABD6-40C5-A0D0-C0EAECFBA76D}" srcOrd="0" destOrd="0" presId="urn:microsoft.com/office/officeart/2005/8/layout/vList2"/>
    <dgm:cxn modelId="{EBD4DF61-341D-4436-89BF-019C1F15156E}" srcId="{4371FFFB-0C07-46EB-98E7-73F93EBE0534}" destId="{C45C209E-6FA7-42CF-B8AE-0A5A1FF33396}" srcOrd="4" destOrd="0" parTransId="{01D77C2B-9E4F-4262-9628-F5C6CB5BB4A0}" sibTransId="{B987B895-BC0F-4821-BF69-69A76AF8158C}"/>
    <dgm:cxn modelId="{39D49647-E65E-48C4-A0F5-C837112AB889}" type="presOf" srcId="{A03B8150-66E2-49F5-8EA7-15A8C0DC6A51}" destId="{963287A1-7D29-48F7-A8D0-6F4078AA58E9}" srcOrd="0" destOrd="0" presId="urn:microsoft.com/office/officeart/2005/8/layout/vList2"/>
    <dgm:cxn modelId="{02BBA64D-E5D6-42EA-A34A-064180E0ACE0}" type="presOf" srcId="{2A2FC182-4AA3-4513-9E6F-A365A2B55185}" destId="{B1E2EA02-3E47-4B96-BCD9-A41DA5E7A29A}" srcOrd="0" destOrd="0" presId="urn:microsoft.com/office/officeart/2005/8/layout/vList2"/>
    <dgm:cxn modelId="{36C74973-AD1C-4E6C-887B-3A976645E401}" type="presOf" srcId="{D75FA3AF-1981-4F79-BED2-C53D87E1E548}" destId="{04AD4E5B-8202-4090-BB9B-315E06520D8B}" srcOrd="0" destOrd="0" presId="urn:microsoft.com/office/officeart/2005/8/layout/vList2"/>
    <dgm:cxn modelId="{20CB9854-967E-4746-8ACA-88CB78EDAE1D}" srcId="{4371FFFB-0C07-46EB-98E7-73F93EBE0534}" destId="{C6ED9FF4-6D38-4D57-8303-DC60C8B35F40}" srcOrd="1" destOrd="0" parTransId="{1BA1EBD5-5D69-436A-952F-F03F63169BA8}" sibTransId="{186E15F2-591E-4126-95CD-6E4A9AB4ABD7}"/>
    <dgm:cxn modelId="{3C490F7E-9680-4798-A292-A3F616C630FF}" type="presOf" srcId="{1697888F-04A7-4CB9-80EA-AB5F8BE65FE1}" destId="{D6B36591-934F-4C9A-BCFE-31273E85ECE8}" srcOrd="0" destOrd="0" presId="urn:microsoft.com/office/officeart/2005/8/layout/vList2"/>
    <dgm:cxn modelId="{8A7C8996-859A-440E-8A0C-F2DC7D40B047}" srcId="{4371FFFB-0C07-46EB-98E7-73F93EBE0534}" destId="{D75FA3AF-1981-4F79-BED2-C53D87E1E548}" srcOrd="2" destOrd="0" parTransId="{8CCCF2F0-360D-47E4-A358-FBC8E74D3275}" sibTransId="{617BB264-BBC6-41B5-A83A-49E7E0EB57F7}"/>
    <dgm:cxn modelId="{FDEC26B1-4EEB-4CE2-ACCE-5481885FC58A}" srcId="{4371FFFB-0C07-46EB-98E7-73F93EBE0534}" destId="{2A2FC182-4AA3-4513-9E6F-A365A2B55185}" srcOrd="5" destOrd="0" parTransId="{3EC49292-3136-4173-8D77-2224CEF78BBF}" sibTransId="{3712D4B6-86E1-432F-A7D4-C2E1DD4E46CB}"/>
    <dgm:cxn modelId="{157465C0-0F07-4094-A413-6DC445FD2D17}" srcId="{4371FFFB-0C07-46EB-98E7-73F93EBE0534}" destId="{A03B8150-66E2-49F5-8EA7-15A8C0DC6A51}" srcOrd="3" destOrd="0" parTransId="{C74E8965-65C0-4F9A-9E0A-D3102628BC78}" sibTransId="{F5EFFE85-F46D-49C5-B9CD-F62893E82388}"/>
    <dgm:cxn modelId="{E230BFC3-61A7-4FCF-B1CD-7759FD93AD2B}" type="presOf" srcId="{4371FFFB-0C07-46EB-98E7-73F93EBE0534}" destId="{3F60C64A-4BF4-472A-A77E-CFDF089257F4}" srcOrd="0" destOrd="0" presId="urn:microsoft.com/office/officeart/2005/8/layout/vList2"/>
    <dgm:cxn modelId="{0DEF83D3-72BF-4852-A398-39F1DC309D56}" type="presOf" srcId="{C45C209E-6FA7-42CF-B8AE-0A5A1FF33396}" destId="{4AFA4E6C-697F-47DD-ABB7-BBD9980F89D6}" srcOrd="0" destOrd="0" presId="urn:microsoft.com/office/officeart/2005/8/layout/vList2"/>
    <dgm:cxn modelId="{0D506AF2-0A95-4BA6-9EF4-23BFD5AB6A20}" type="presOf" srcId="{C6ED9FF4-6D38-4D57-8303-DC60C8B35F40}" destId="{ED28BED1-C6A2-48BB-95A1-53A31556208C}" srcOrd="0" destOrd="0" presId="urn:microsoft.com/office/officeart/2005/8/layout/vList2"/>
    <dgm:cxn modelId="{DCE47C2B-4688-4B7A-B4DE-53B81053481F}" type="presParOf" srcId="{3F60C64A-4BF4-472A-A77E-CFDF089257F4}" destId="{51826182-ABD6-40C5-A0D0-C0EAECFBA76D}" srcOrd="0" destOrd="0" presId="urn:microsoft.com/office/officeart/2005/8/layout/vList2"/>
    <dgm:cxn modelId="{3366E141-9FA7-4EF6-BDC8-CC6950C57FB5}" type="presParOf" srcId="{3F60C64A-4BF4-472A-A77E-CFDF089257F4}" destId="{4CE22A70-C957-4826-A12B-E902B28E1501}" srcOrd="1" destOrd="0" presId="urn:microsoft.com/office/officeart/2005/8/layout/vList2"/>
    <dgm:cxn modelId="{09800523-FCA5-40CE-8D96-F29C0DEDD5B1}" type="presParOf" srcId="{3F60C64A-4BF4-472A-A77E-CFDF089257F4}" destId="{ED28BED1-C6A2-48BB-95A1-53A31556208C}" srcOrd="2" destOrd="0" presId="urn:microsoft.com/office/officeart/2005/8/layout/vList2"/>
    <dgm:cxn modelId="{1189CC3E-5DC5-460C-800A-4EA6A8DB1106}" type="presParOf" srcId="{3F60C64A-4BF4-472A-A77E-CFDF089257F4}" destId="{4019D4E4-C4BA-4BC0-A974-59088644EA0E}" srcOrd="3" destOrd="0" presId="urn:microsoft.com/office/officeart/2005/8/layout/vList2"/>
    <dgm:cxn modelId="{6E71068E-1A3E-44AC-AF4F-2836D21F791E}" type="presParOf" srcId="{3F60C64A-4BF4-472A-A77E-CFDF089257F4}" destId="{04AD4E5B-8202-4090-BB9B-315E06520D8B}" srcOrd="4" destOrd="0" presId="urn:microsoft.com/office/officeart/2005/8/layout/vList2"/>
    <dgm:cxn modelId="{82ACFF9C-3A29-4F7C-9473-CE8A30E1E602}" type="presParOf" srcId="{3F60C64A-4BF4-472A-A77E-CFDF089257F4}" destId="{DD97A550-962C-4154-85F7-02E19E21894B}" srcOrd="5" destOrd="0" presId="urn:microsoft.com/office/officeart/2005/8/layout/vList2"/>
    <dgm:cxn modelId="{75F51C2B-2F86-4087-8CBB-28DE94DA47ED}" type="presParOf" srcId="{3F60C64A-4BF4-472A-A77E-CFDF089257F4}" destId="{963287A1-7D29-48F7-A8D0-6F4078AA58E9}" srcOrd="6" destOrd="0" presId="urn:microsoft.com/office/officeart/2005/8/layout/vList2"/>
    <dgm:cxn modelId="{70DE672B-E55D-44B3-B9ED-B4F949A2C9F8}" type="presParOf" srcId="{3F60C64A-4BF4-472A-A77E-CFDF089257F4}" destId="{9CA15D9F-22BA-47D8-B111-448DD8D7C883}" srcOrd="7" destOrd="0" presId="urn:microsoft.com/office/officeart/2005/8/layout/vList2"/>
    <dgm:cxn modelId="{E764CBAB-4028-487D-B34A-B25FCE04D9F5}" type="presParOf" srcId="{3F60C64A-4BF4-472A-A77E-CFDF089257F4}" destId="{4AFA4E6C-697F-47DD-ABB7-BBD9980F89D6}" srcOrd="8" destOrd="0" presId="urn:microsoft.com/office/officeart/2005/8/layout/vList2"/>
    <dgm:cxn modelId="{AE2456C1-6849-4522-B38D-823F26F5FD73}" type="presParOf" srcId="{3F60C64A-4BF4-472A-A77E-CFDF089257F4}" destId="{0BCF14AF-5256-4F6B-AC68-9A2034D0D4B8}" srcOrd="9" destOrd="0" presId="urn:microsoft.com/office/officeart/2005/8/layout/vList2"/>
    <dgm:cxn modelId="{D32D0699-B3CB-41D9-B289-D18D560F13EF}" type="presParOf" srcId="{3F60C64A-4BF4-472A-A77E-CFDF089257F4}" destId="{B1E2EA02-3E47-4B96-BCD9-A41DA5E7A29A}" srcOrd="10" destOrd="0" presId="urn:microsoft.com/office/officeart/2005/8/layout/vList2"/>
    <dgm:cxn modelId="{D0B2E56F-B3CD-41F3-82E0-DAA5CECD1262}" type="presParOf" srcId="{3F60C64A-4BF4-472A-A77E-CFDF089257F4}" destId="{65D00E7A-2965-4930-82B2-3CC46724FF28}" srcOrd="11" destOrd="0" presId="urn:microsoft.com/office/officeart/2005/8/layout/vList2"/>
    <dgm:cxn modelId="{97966D3E-7BA1-414A-9EB9-8489DCCA5300}" type="presParOf" srcId="{3F60C64A-4BF4-472A-A77E-CFDF089257F4}" destId="{D6B36591-934F-4C9A-BCFE-31273E85ECE8}"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4F60257-3897-4CA9-931C-0AE259394A81}"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A5BDA99D-F128-4511-B48A-7BF30D4585DC}">
      <dgm:prSet phldrT="[Text]"/>
      <dgm:spPr/>
      <dgm:t>
        <a:bodyPr/>
        <a:lstStyle/>
        <a:p>
          <a:r>
            <a:rPr lang="en-US" dirty="0"/>
            <a:t>IN_ROW_DATA</a:t>
          </a:r>
        </a:p>
      </dgm:t>
    </dgm:pt>
    <dgm:pt modelId="{313CBCCC-13DB-4666-A5F8-A8B025081730}" type="parTrans" cxnId="{00B6C034-9209-4203-BFBA-CBEF119AB808}">
      <dgm:prSet/>
      <dgm:spPr/>
      <dgm:t>
        <a:bodyPr/>
        <a:lstStyle/>
        <a:p>
          <a:endParaRPr lang="en-US"/>
        </a:p>
      </dgm:t>
    </dgm:pt>
    <dgm:pt modelId="{D7F94B1D-4AA9-485F-B50B-96EFA191EC0C}" type="sibTrans" cxnId="{00B6C034-9209-4203-BFBA-CBEF119AB808}">
      <dgm:prSet/>
      <dgm:spPr/>
      <dgm:t>
        <a:bodyPr/>
        <a:lstStyle/>
        <a:p>
          <a:endParaRPr lang="en-US"/>
        </a:p>
      </dgm:t>
    </dgm:pt>
    <dgm:pt modelId="{A8357F90-6211-41A3-A3B9-B5DB8578DF52}">
      <dgm:prSet phldrT="[Text]"/>
      <dgm:spPr/>
      <dgm:t>
        <a:bodyPr/>
        <a:lstStyle/>
        <a:p>
          <a:r>
            <a:rPr lang="en-US" dirty="0"/>
            <a:t>LOB_DATA (For out of row storage)</a:t>
          </a:r>
        </a:p>
      </dgm:t>
    </dgm:pt>
    <dgm:pt modelId="{B5130284-BF6C-48DE-981D-917B5FF65B90}" type="parTrans" cxnId="{62812389-BFE8-40A2-87B5-5B8C5CFD5290}">
      <dgm:prSet/>
      <dgm:spPr/>
      <dgm:t>
        <a:bodyPr/>
        <a:lstStyle/>
        <a:p>
          <a:endParaRPr lang="en-US"/>
        </a:p>
      </dgm:t>
    </dgm:pt>
    <dgm:pt modelId="{3F8B007A-FFD3-44AC-8600-298260B75A69}" type="sibTrans" cxnId="{62812389-BFE8-40A2-87B5-5B8C5CFD5290}">
      <dgm:prSet/>
      <dgm:spPr/>
      <dgm:t>
        <a:bodyPr/>
        <a:lstStyle/>
        <a:p>
          <a:endParaRPr lang="en-US"/>
        </a:p>
      </dgm:t>
    </dgm:pt>
    <dgm:pt modelId="{8FA5E645-B0B4-423A-A6E0-A52504E47646}">
      <dgm:prSet phldrT="[Text]"/>
      <dgm:spPr/>
      <dgm:t>
        <a:bodyPr/>
        <a:lstStyle/>
        <a:p>
          <a:r>
            <a:rPr lang="en-US" dirty="0"/>
            <a:t>ROW_OVERFLOW_DATA (SLOB)</a:t>
          </a:r>
        </a:p>
      </dgm:t>
    </dgm:pt>
    <dgm:pt modelId="{ACDAC54A-9438-4DF1-A101-EB3F6E983493}" type="parTrans" cxnId="{64B7A434-32A7-4476-8DFC-D753E395C486}">
      <dgm:prSet/>
      <dgm:spPr/>
      <dgm:t>
        <a:bodyPr/>
        <a:lstStyle/>
        <a:p>
          <a:endParaRPr lang="en-US"/>
        </a:p>
      </dgm:t>
    </dgm:pt>
    <dgm:pt modelId="{BE27BF12-C404-4750-A107-D86481A43F6B}" type="sibTrans" cxnId="{64B7A434-32A7-4476-8DFC-D753E395C486}">
      <dgm:prSet/>
      <dgm:spPr/>
      <dgm:t>
        <a:bodyPr/>
        <a:lstStyle/>
        <a:p>
          <a:endParaRPr lang="en-US"/>
        </a:p>
      </dgm:t>
    </dgm:pt>
    <dgm:pt modelId="{C26FC71B-6007-406B-9247-2B3FC23EC45E}">
      <dgm:prSet/>
      <dgm:spPr/>
      <dgm:t>
        <a:bodyPr/>
        <a:lstStyle/>
        <a:p>
          <a:r>
            <a:rPr lang="en-US" dirty="0"/>
            <a:t>Fixed length data must be store here.</a:t>
          </a:r>
        </a:p>
      </dgm:t>
    </dgm:pt>
    <dgm:pt modelId="{70D56258-3770-44A7-8861-DED26F6AD0E2}" type="parTrans" cxnId="{4A0ACE87-B4B8-4819-B29D-41FB9F7A3A6E}">
      <dgm:prSet/>
      <dgm:spPr/>
      <dgm:t>
        <a:bodyPr/>
        <a:lstStyle/>
        <a:p>
          <a:endParaRPr lang="en-US"/>
        </a:p>
      </dgm:t>
    </dgm:pt>
    <dgm:pt modelId="{E7F3A3BA-D770-48A0-8A4E-B839B4A416D9}" type="sibTrans" cxnId="{4A0ACE87-B4B8-4819-B29D-41FB9F7A3A6E}">
      <dgm:prSet/>
      <dgm:spPr/>
      <dgm:t>
        <a:bodyPr/>
        <a:lstStyle/>
        <a:p>
          <a:endParaRPr lang="en-US"/>
        </a:p>
      </dgm:t>
    </dgm:pt>
    <dgm:pt modelId="{ED88BB0B-4C7A-499B-A9CD-986E81615AEF}">
      <dgm:prSet/>
      <dgm:spPr/>
      <dgm:t>
        <a:bodyPr/>
        <a:lstStyle/>
        <a:p>
          <a:r>
            <a:rPr lang="en-US" dirty="0"/>
            <a:t>Rows cannot extend beyond pages</a:t>
          </a:r>
        </a:p>
      </dgm:t>
    </dgm:pt>
    <dgm:pt modelId="{F92240B6-4F39-4008-B8A3-18DFB137BF0C}" type="parTrans" cxnId="{95403C44-A8D4-4AE8-8E7C-58A2FE8D374F}">
      <dgm:prSet/>
      <dgm:spPr/>
      <dgm:t>
        <a:bodyPr/>
        <a:lstStyle/>
        <a:p>
          <a:endParaRPr lang="en-US"/>
        </a:p>
      </dgm:t>
    </dgm:pt>
    <dgm:pt modelId="{0AC21AAA-4764-42FD-8870-5DAD147F8E70}" type="sibTrans" cxnId="{95403C44-A8D4-4AE8-8E7C-58A2FE8D374F}">
      <dgm:prSet/>
      <dgm:spPr/>
      <dgm:t>
        <a:bodyPr/>
        <a:lstStyle/>
        <a:p>
          <a:endParaRPr lang="en-US"/>
        </a:p>
      </dgm:t>
    </dgm:pt>
    <dgm:pt modelId="{0CE02802-2CAE-46B9-8E1A-6CD2E063D918}">
      <dgm:prSet/>
      <dgm:spPr/>
      <dgm:t>
        <a:bodyPr/>
        <a:lstStyle/>
        <a:p>
          <a:r>
            <a:rPr lang="en-US" dirty="0"/>
            <a:t>Data Page is 8060 bytes</a:t>
          </a:r>
        </a:p>
      </dgm:t>
    </dgm:pt>
    <dgm:pt modelId="{20357974-144A-4AEB-B06D-F8F59F61F838}" type="parTrans" cxnId="{C7F42C92-9A52-4396-B92B-0B282BDDFF74}">
      <dgm:prSet/>
      <dgm:spPr/>
      <dgm:t>
        <a:bodyPr/>
        <a:lstStyle/>
        <a:p>
          <a:endParaRPr lang="en-US"/>
        </a:p>
      </dgm:t>
    </dgm:pt>
    <dgm:pt modelId="{35FAA91F-2DA9-4E8D-B391-B24BB9E695D0}" type="sibTrans" cxnId="{C7F42C92-9A52-4396-B92B-0B282BDDFF74}">
      <dgm:prSet/>
      <dgm:spPr/>
      <dgm:t>
        <a:bodyPr/>
        <a:lstStyle/>
        <a:p>
          <a:endParaRPr lang="en-US"/>
        </a:p>
      </dgm:t>
    </dgm:pt>
    <dgm:pt modelId="{C9B2FCE1-8C83-4316-B039-44F32A1FFDC1}">
      <dgm:prSet/>
      <dgm:spPr/>
      <dgm:t>
        <a:bodyPr/>
        <a:lstStyle/>
        <a:p>
          <a:r>
            <a:rPr lang="en-US" dirty="0"/>
            <a:t>varchar(max) / nvarchar(max) / varbinary(max)</a:t>
          </a:r>
        </a:p>
      </dgm:t>
    </dgm:pt>
    <dgm:pt modelId="{624ECF28-5DBE-4381-A757-A9C989425D5C}" type="parTrans" cxnId="{90815394-2229-4F0D-8D64-01CEFF83EBD2}">
      <dgm:prSet/>
      <dgm:spPr/>
      <dgm:t>
        <a:bodyPr/>
        <a:lstStyle/>
        <a:p>
          <a:endParaRPr lang="en-US"/>
        </a:p>
      </dgm:t>
    </dgm:pt>
    <dgm:pt modelId="{B8B5A3E9-701A-4B26-8417-F3B2EF2BBB0B}" type="sibTrans" cxnId="{90815394-2229-4F0D-8D64-01CEFF83EBD2}">
      <dgm:prSet/>
      <dgm:spPr/>
      <dgm:t>
        <a:bodyPr/>
        <a:lstStyle/>
        <a:p>
          <a:endParaRPr lang="en-US"/>
        </a:p>
      </dgm:t>
    </dgm:pt>
    <dgm:pt modelId="{0B892884-4F41-4B6D-8AE6-CD9B2C659107}">
      <dgm:prSet/>
      <dgm:spPr/>
      <dgm:t>
        <a:bodyPr/>
        <a:lstStyle/>
        <a:p>
          <a:r>
            <a:rPr lang="en-US" dirty="0"/>
            <a:t>16-byte point to out of row tree</a:t>
          </a:r>
        </a:p>
      </dgm:t>
    </dgm:pt>
    <dgm:pt modelId="{06016C8B-E2BD-4BAB-9B05-B600005D4DDA}" type="parTrans" cxnId="{A85B8D7B-EF2F-4587-BFEB-01D6E6CACAAB}">
      <dgm:prSet/>
      <dgm:spPr/>
      <dgm:t>
        <a:bodyPr/>
        <a:lstStyle/>
        <a:p>
          <a:endParaRPr lang="en-US"/>
        </a:p>
      </dgm:t>
    </dgm:pt>
    <dgm:pt modelId="{3543215F-61D2-4D91-A336-2855327CDA3B}" type="sibTrans" cxnId="{A85B8D7B-EF2F-4587-BFEB-01D6E6CACAAB}">
      <dgm:prSet/>
      <dgm:spPr/>
      <dgm:t>
        <a:bodyPr/>
        <a:lstStyle/>
        <a:p>
          <a:endParaRPr lang="en-US"/>
        </a:p>
      </dgm:t>
    </dgm:pt>
    <dgm:pt modelId="{733CB742-2A31-482C-8175-7697CE3DBC6A}">
      <dgm:prSet/>
      <dgm:spPr/>
      <dgm:t>
        <a:bodyPr/>
        <a:lstStyle/>
        <a:p>
          <a:r>
            <a:rPr lang="en-US" dirty="0"/>
            <a:t>Uses text page to store a stream of data</a:t>
          </a:r>
        </a:p>
      </dgm:t>
    </dgm:pt>
    <dgm:pt modelId="{47EAF8BC-0568-484D-818D-DE5277F1D799}" type="parTrans" cxnId="{596E9921-4B11-4700-8F08-702C2B4D90E4}">
      <dgm:prSet/>
      <dgm:spPr/>
      <dgm:t>
        <a:bodyPr/>
        <a:lstStyle/>
        <a:p>
          <a:endParaRPr lang="en-US"/>
        </a:p>
      </dgm:t>
    </dgm:pt>
    <dgm:pt modelId="{14AA8A16-6AD2-4AC5-8A7F-C84DEFBACF2D}" type="sibTrans" cxnId="{596E9921-4B11-4700-8F08-702C2B4D90E4}">
      <dgm:prSet/>
      <dgm:spPr/>
      <dgm:t>
        <a:bodyPr/>
        <a:lstStyle/>
        <a:p>
          <a:endParaRPr lang="en-US"/>
        </a:p>
      </dgm:t>
    </dgm:pt>
    <dgm:pt modelId="{37AE5DB6-5D7E-40A6-B2A5-38D421A5FCF6}">
      <dgm:prSet/>
      <dgm:spPr/>
      <dgm:t>
        <a:bodyPr/>
        <a:lstStyle/>
        <a:p>
          <a:r>
            <a:rPr lang="en-US" dirty="0"/>
            <a:t>varchar(8000) / nvarchar(4000) / varbinary(8000)</a:t>
          </a:r>
        </a:p>
      </dgm:t>
    </dgm:pt>
    <dgm:pt modelId="{EA78B916-2A70-400A-84F1-E18149D9118B}" type="parTrans" cxnId="{38DA21C2-189F-4AF4-A0E3-B22C56478EF1}">
      <dgm:prSet/>
      <dgm:spPr/>
      <dgm:t>
        <a:bodyPr/>
        <a:lstStyle/>
        <a:p>
          <a:endParaRPr lang="en-US"/>
        </a:p>
      </dgm:t>
    </dgm:pt>
    <dgm:pt modelId="{CC69915A-8629-429F-85FB-88EAF2EE1945}" type="sibTrans" cxnId="{38DA21C2-189F-4AF4-A0E3-B22C56478EF1}">
      <dgm:prSet/>
      <dgm:spPr/>
      <dgm:t>
        <a:bodyPr/>
        <a:lstStyle/>
        <a:p>
          <a:endParaRPr lang="en-US"/>
        </a:p>
      </dgm:t>
    </dgm:pt>
    <dgm:pt modelId="{BAB1D937-8256-4BEF-8804-326357BAD934}">
      <dgm:prSet/>
      <dgm:spPr/>
      <dgm:t>
        <a:bodyPr/>
        <a:lstStyle/>
        <a:p>
          <a:r>
            <a:rPr lang="en-US" dirty="0"/>
            <a:t>When a column can’t fit onto a page</a:t>
          </a:r>
        </a:p>
      </dgm:t>
    </dgm:pt>
    <dgm:pt modelId="{F3957BC2-EE2C-47B4-9D35-144DA9C83490}" type="parTrans" cxnId="{8D30F761-409C-426A-A8A7-2AD1FA6E8C75}">
      <dgm:prSet/>
      <dgm:spPr/>
      <dgm:t>
        <a:bodyPr/>
        <a:lstStyle/>
        <a:p>
          <a:endParaRPr lang="en-US"/>
        </a:p>
      </dgm:t>
    </dgm:pt>
    <dgm:pt modelId="{15DECDAA-2308-49FA-A66A-3ACC9F15E2E9}" type="sibTrans" cxnId="{8D30F761-409C-426A-A8A7-2AD1FA6E8C75}">
      <dgm:prSet/>
      <dgm:spPr/>
      <dgm:t>
        <a:bodyPr/>
        <a:lstStyle/>
        <a:p>
          <a:endParaRPr lang="en-US"/>
        </a:p>
      </dgm:t>
    </dgm:pt>
    <dgm:pt modelId="{18CACD65-6291-4278-9201-60DE58C637F5}">
      <dgm:prSet/>
      <dgm:spPr/>
      <dgm:t>
        <a:bodyPr/>
        <a:lstStyle/>
        <a:p>
          <a:r>
            <a:rPr lang="en-US" dirty="0"/>
            <a:t>No control over which column overflows</a:t>
          </a:r>
        </a:p>
      </dgm:t>
    </dgm:pt>
    <dgm:pt modelId="{C3338CA2-4644-4271-B2D3-7843DA63CC27}" type="parTrans" cxnId="{531B3DBE-E338-44F1-974F-F9663EA741C4}">
      <dgm:prSet/>
      <dgm:spPr/>
      <dgm:t>
        <a:bodyPr/>
        <a:lstStyle/>
        <a:p>
          <a:endParaRPr lang="en-US"/>
        </a:p>
      </dgm:t>
    </dgm:pt>
    <dgm:pt modelId="{4EA181B0-CBBE-4824-BA88-6FE269680B0E}" type="sibTrans" cxnId="{531B3DBE-E338-44F1-974F-F9663EA741C4}">
      <dgm:prSet/>
      <dgm:spPr/>
      <dgm:t>
        <a:bodyPr/>
        <a:lstStyle/>
        <a:p>
          <a:endParaRPr lang="en-US"/>
        </a:p>
      </dgm:t>
    </dgm:pt>
    <dgm:pt modelId="{14F71304-7523-4C61-B3FF-10A57A5BC66D}" type="pres">
      <dgm:prSet presAssocID="{94F60257-3897-4CA9-931C-0AE259394A81}" presName="linear" presStyleCnt="0">
        <dgm:presLayoutVars>
          <dgm:dir/>
          <dgm:animLvl val="lvl"/>
          <dgm:resizeHandles val="exact"/>
        </dgm:presLayoutVars>
      </dgm:prSet>
      <dgm:spPr/>
    </dgm:pt>
    <dgm:pt modelId="{5EFDB258-E7E9-4639-9DE2-4DDD1351A346}" type="pres">
      <dgm:prSet presAssocID="{A5BDA99D-F128-4511-B48A-7BF30D4585DC}" presName="parentLin" presStyleCnt="0"/>
      <dgm:spPr/>
    </dgm:pt>
    <dgm:pt modelId="{0B39A00B-2017-40B3-AE69-DC600D82E5D6}" type="pres">
      <dgm:prSet presAssocID="{A5BDA99D-F128-4511-B48A-7BF30D4585DC}" presName="parentLeftMargin" presStyleLbl="node1" presStyleIdx="0" presStyleCnt="3"/>
      <dgm:spPr/>
    </dgm:pt>
    <dgm:pt modelId="{5345CC5A-3CA0-4CD0-885F-750DC14CBE0B}" type="pres">
      <dgm:prSet presAssocID="{A5BDA99D-F128-4511-B48A-7BF30D4585DC}" presName="parentText" presStyleLbl="node1" presStyleIdx="0" presStyleCnt="3">
        <dgm:presLayoutVars>
          <dgm:chMax val="0"/>
          <dgm:bulletEnabled val="1"/>
        </dgm:presLayoutVars>
      </dgm:prSet>
      <dgm:spPr/>
    </dgm:pt>
    <dgm:pt modelId="{8D51E8C6-788C-463D-9416-517BFAF239D1}" type="pres">
      <dgm:prSet presAssocID="{A5BDA99D-F128-4511-B48A-7BF30D4585DC}" presName="negativeSpace" presStyleCnt="0"/>
      <dgm:spPr/>
    </dgm:pt>
    <dgm:pt modelId="{4B0A1F1B-53A7-4E26-A228-B358B2D55A24}" type="pres">
      <dgm:prSet presAssocID="{A5BDA99D-F128-4511-B48A-7BF30D4585DC}" presName="childText" presStyleLbl="conFgAcc1" presStyleIdx="0" presStyleCnt="3">
        <dgm:presLayoutVars>
          <dgm:bulletEnabled val="1"/>
        </dgm:presLayoutVars>
      </dgm:prSet>
      <dgm:spPr/>
    </dgm:pt>
    <dgm:pt modelId="{49C7463E-6B71-4C0C-99E6-739470BBF00E}" type="pres">
      <dgm:prSet presAssocID="{D7F94B1D-4AA9-485F-B50B-96EFA191EC0C}" presName="spaceBetweenRectangles" presStyleCnt="0"/>
      <dgm:spPr/>
    </dgm:pt>
    <dgm:pt modelId="{0895B101-1AC8-4EAD-8D72-1E9145197251}" type="pres">
      <dgm:prSet presAssocID="{A8357F90-6211-41A3-A3B9-B5DB8578DF52}" presName="parentLin" presStyleCnt="0"/>
      <dgm:spPr/>
    </dgm:pt>
    <dgm:pt modelId="{B5543202-2FE9-4E30-B25A-596FA256A2CB}" type="pres">
      <dgm:prSet presAssocID="{A8357F90-6211-41A3-A3B9-B5DB8578DF52}" presName="parentLeftMargin" presStyleLbl="node1" presStyleIdx="0" presStyleCnt="3"/>
      <dgm:spPr/>
    </dgm:pt>
    <dgm:pt modelId="{9AC1164C-B8A9-4BA0-826C-837D06002D2B}" type="pres">
      <dgm:prSet presAssocID="{A8357F90-6211-41A3-A3B9-B5DB8578DF52}" presName="parentText" presStyleLbl="node1" presStyleIdx="1" presStyleCnt="3">
        <dgm:presLayoutVars>
          <dgm:chMax val="0"/>
          <dgm:bulletEnabled val="1"/>
        </dgm:presLayoutVars>
      </dgm:prSet>
      <dgm:spPr/>
    </dgm:pt>
    <dgm:pt modelId="{49DCAD58-D452-4DEA-B44D-9714AC42BB17}" type="pres">
      <dgm:prSet presAssocID="{A8357F90-6211-41A3-A3B9-B5DB8578DF52}" presName="negativeSpace" presStyleCnt="0"/>
      <dgm:spPr/>
    </dgm:pt>
    <dgm:pt modelId="{1BE6CC60-0F0D-46CE-A406-F857BBCCE870}" type="pres">
      <dgm:prSet presAssocID="{A8357F90-6211-41A3-A3B9-B5DB8578DF52}" presName="childText" presStyleLbl="conFgAcc1" presStyleIdx="1" presStyleCnt="3">
        <dgm:presLayoutVars>
          <dgm:bulletEnabled val="1"/>
        </dgm:presLayoutVars>
      </dgm:prSet>
      <dgm:spPr/>
    </dgm:pt>
    <dgm:pt modelId="{7C5B6C29-D72D-462B-A9A2-97BC4E7DE2A1}" type="pres">
      <dgm:prSet presAssocID="{3F8B007A-FFD3-44AC-8600-298260B75A69}" presName="spaceBetweenRectangles" presStyleCnt="0"/>
      <dgm:spPr/>
    </dgm:pt>
    <dgm:pt modelId="{5D99D752-C898-4AC3-BEA6-FAEE27154FB0}" type="pres">
      <dgm:prSet presAssocID="{8FA5E645-B0B4-423A-A6E0-A52504E47646}" presName="parentLin" presStyleCnt="0"/>
      <dgm:spPr/>
    </dgm:pt>
    <dgm:pt modelId="{B4B866C6-89C4-4EC6-86F7-321F9634A816}" type="pres">
      <dgm:prSet presAssocID="{8FA5E645-B0B4-423A-A6E0-A52504E47646}" presName="parentLeftMargin" presStyleLbl="node1" presStyleIdx="1" presStyleCnt="3"/>
      <dgm:spPr/>
    </dgm:pt>
    <dgm:pt modelId="{A2693F37-0C62-4143-8E0A-2BC5D60CCFE2}" type="pres">
      <dgm:prSet presAssocID="{8FA5E645-B0B4-423A-A6E0-A52504E47646}" presName="parentText" presStyleLbl="node1" presStyleIdx="2" presStyleCnt="3">
        <dgm:presLayoutVars>
          <dgm:chMax val="0"/>
          <dgm:bulletEnabled val="1"/>
        </dgm:presLayoutVars>
      </dgm:prSet>
      <dgm:spPr/>
    </dgm:pt>
    <dgm:pt modelId="{B9AB6BDE-446A-49CA-B8BC-BB1E016618EF}" type="pres">
      <dgm:prSet presAssocID="{8FA5E645-B0B4-423A-A6E0-A52504E47646}" presName="negativeSpace" presStyleCnt="0"/>
      <dgm:spPr/>
    </dgm:pt>
    <dgm:pt modelId="{612B4DC7-D7D5-447A-8782-9062D6CCA1B2}" type="pres">
      <dgm:prSet presAssocID="{8FA5E645-B0B4-423A-A6E0-A52504E47646}" presName="childText" presStyleLbl="conFgAcc1" presStyleIdx="2" presStyleCnt="3">
        <dgm:presLayoutVars>
          <dgm:bulletEnabled val="1"/>
        </dgm:presLayoutVars>
      </dgm:prSet>
      <dgm:spPr/>
    </dgm:pt>
  </dgm:ptLst>
  <dgm:cxnLst>
    <dgm:cxn modelId="{8EB42F05-2E96-4CA8-9B16-070E65959556}" type="presOf" srcId="{0CE02802-2CAE-46B9-8E1A-6CD2E063D918}" destId="{4B0A1F1B-53A7-4E26-A228-B358B2D55A24}" srcOrd="0" destOrd="2" presId="urn:microsoft.com/office/officeart/2005/8/layout/list1"/>
    <dgm:cxn modelId="{2B37530F-84FC-4070-BD10-C3E4E0CDE540}" type="presOf" srcId="{C26FC71B-6007-406B-9247-2B3FC23EC45E}" destId="{4B0A1F1B-53A7-4E26-A228-B358B2D55A24}" srcOrd="0" destOrd="0" presId="urn:microsoft.com/office/officeart/2005/8/layout/list1"/>
    <dgm:cxn modelId="{2AF38D13-5876-474A-942A-B0F84191078F}" type="presOf" srcId="{18CACD65-6291-4278-9201-60DE58C637F5}" destId="{612B4DC7-D7D5-447A-8782-9062D6CCA1B2}" srcOrd="0" destOrd="2" presId="urn:microsoft.com/office/officeart/2005/8/layout/list1"/>
    <dgm:cxn modelId="{68C13B1C-BDB7-4D2A-9154-76F92410CB6C}" type="presOf" srcId="{A5BDA99D-F128-4511-B48A-7BF30D4585DC}" destId="{0B39A00B-2017-40B3-AE69-DC600D82E5D6}" srcOrd="0" destOrd="0" presId="urn:microsoft.com/office/officeart/2005/8/layout/list1"/>
    <dgm:cxn modelId="{C309911C-3B2D-444C-8199-63B2853F82C0}" type="presOf" srcId="{8FA5E645-B0B4-423A-A6E0-A52504E47646}" destId="{A2693F37-0C62-4143-8E0A-2BC5D60CCFE2}" srcOrd="1" destOrd="0" presId="urn:microsoft.com/office/officeart/2005/8/layout/list1"/>
    <dgm:cxn modelId="{596E9921-4B11-4700-8F08-702C2B4D90E4}" srcId="{A8357F90-6211-41A3-A3B9-B5DB8578DF52}" destId="{733CB742-2A31-482C-8175-7697CE3DBC6A}" srcOrd="2" destOrd="0" parTransId="{47EAF8BC-0568-484D-818D-DE5277F1D799}" sibTransId="{14AA8A16-6AD2-4AC5-8A7F-C84DEFBACF2D}"/>
    <dgm:cxn modelId="{D79A2D24-4547-44FC-99F1-595D27945C53}" type="presOf" srcId="{BAB1D937-8256-4BEF-8804-326357BAD934}" destId="{612B4DC7-D7D5-447A-8782-9062D6CCA1B2}" srcOrd="0" destOrd="1" presId="urn:microsoft.com/office/officeart/2005/8/layout/list1"/>
    <dgm:cxn modelId="{3C0E4726-F65F-4722-AC57-A9D1BA82992D}" type="presOf" srcId="{C9B2FCE1-8C83-4316-B039-44F32A1FFDC1}" destId="{1BE6CC60-0F0D-46CE-A406-F857BBCCE870}" srcOrd="0" destOrd="0" presId="urn:microsoft.com/office/officeart/2005/8/layout/list1"/>
    <dgm:cxn modelId="{5293B42D-8B07-4D38-8A7B-7AAB3F0A354C}" type="presOf" srcId="{37AE5DB6-5D7E-40A6-B2A5-38D421A5FCF6}" destId="{612B4DC7-D7D5-447A-8782-9062D6CCA1B2}" srcOrd="0" destOrd="0" presId="urn:microsoft.com/office/officeart/2005/8/layout/list1"/>
    <dgm:cxn modelId="{64B7A434-32A7-4476-8DFC-D753E395C486}" srcId="{94F60257-3897-4CA9-931C-0AE259394A81}" destId="{8FA5E645-B0B4-423A-A6E0-A52504E47646}" srcOrd="2" destOrd="0" parTransId="{ACDAC54A-9438-4DF1-A101-EB3F6E983493}" sibTransId="{BE27BF12-C404-4750-A107-D86481A43F6B}"/>
    <dgm:cxn modelId="{00B6C034-9209-4203-BFBA-CBEF119AB808}" srcId="{94F60257-3897-4CA9-931C-0AE259394A81}" destId="{A5BDA99D-F128-4511-B48A-7BF30D4585DC}" srcOrd="0" destOrd="0" parTransId="{313CBCCC-13DB-4666-A5F8-A8B025081730}" sibTransId="{D7F94B1D-4AA9-485F-B50B-96EFA191EC0C}"/>
    <dgm:cxn modelId="{EB006437-CC61-426A-8AAE-16A2AF0F4862}" type="presOf" srcId="{94F60257-3897-4CA9-931C-0AE259394A81}" destId="{14F71304-7523-4C61-B3FF-10A57A5BC66D}" srcOrd="0" destOrd="0" presId="urn:microsoft.com/office/officeart/2005/8/layout/list1"/>
    <dgm:cxn modelId="{8D30F761-409C-426A-A8A7-2AD1FA6E8C75}" srcId="{8FA5E645-B0B4-423A-A6E0-A52504E47646}" destId="{BAB1D937-8256-4BEF-8804-326357BAD934}" srcOrd="1" destOrd="0" parTransId="{F3957BC2-EE2C-47B4-9D35-144DA9C83490}" sibTransId="{15DECDAA-2308-49FA-A66A-3ACC9F15E2E9}"/>
    <dgm:cxn modelId="{95403C44-A8D4-4AE8-8E7C-58A2FE8D374F}" srcId="{A5BDA99D-F128-4511-B48A-7BF30D4585DC}" destId="{ED88BB0B-4C7A-499B-A9CD-986E81615AEF}" srcOrd="1" destOrd="0" parTransId="{F92240B6-4F39-4008-B8A3-18DFB137BF0C}" sibTransId="{0AC21AAA-4764-42FD-8870-5DAD147F8E70}"/>
    <dgm:cxn modelId="{56D05E4A-7673-40C7-A285-B6765C77F75B}" type="presOf" srcId="{0B892884-4F41-4B6D-8AE6-CD9B2C659107}" destId="{1BE6CC60-0F0D-46CE-A406-F857BBCCE870}" srcOrd="0" destOrd="1" presId="urn:microsoft.com/office/officeart/2005/8/layout/list1"/>
    <dgm:cxn modelId="{A85B8D7B-EF2F-4587-BFEB-01D6E6CACAAB}" srcId="{A8357F90-6211-41A3-A3B9-B5DB8578DF52}" destId="{0B892884-4F41-4B6D-8AE6-CD9B2C659107}" srcOrd="1" destOrd="0" parTransId="{06016C8B-E2BD-4BAB-9B05-B600005D4DDA}" sibTransId="{3543215F-61D2-4D91-A336-2855327CDA3B}"/>
    <dgm:cxn modelId="{4A0ACE87-B4B8-4819-B29D-41FB9F7A3A6E}" srcId="{A5BDA99D-F128-4511-B48A-7BF30D4585DC}" destId="{C26FC71B-6007-406B-9247-2B3FC23EC45E}" srcOrd="0" destOrd="0" parTransId="{70D56258-3770-44A7-8861-DED26F6AD0E2}" sibTransId="{E7F3A3BA-D770-48A0-8A4E-B839B4A416D9}"/>
    <dgm:cxn modelId="{62812389-BFE8-40A2-87B5-5B8C5CFD5290}" srcId="{94F60257-3897-4CA9-931C-0AE259394A81}" destId="{A8357F90-6211-41A3-A3B9-B5DB8578DF52}" srcOrd="1" destOrd="0" parTransId="{B5130284-BF6C-48DE-981D-917B5FF65B90}" sibTransId="{3F8B007A-FFD3-44AC-8600-298260B75A69}"/>
    <dgm:cxn modelId="{C7F42C92-9A52-4396-B92B-0B282BDDFF74}" srcId="{A5BDA99D-F128-4511-B48A-7BF30D4585DC}" destId="{0CE02802-2CAE-46B9-8E1A-6CD2E063D918}" srcOrd="2" destOrd="0" parTransId="{20357974-144A-4AEB-B06D-F8F59F61F838}" sibTransId="{35FAA91F-2DA9-4E8D-B391-B24BB9E695D0}"/>
    <dgm:cxn modelId="{90815394-2229-4F0D-8D64-01CEFF83EBD2}" srcId="{A8357F90-6211-41A3-A3B9-B5DB8578DF52}" destId="{C9B2FCE1-8C83-4316-B039-44F32A1FFDC1}" srcOrd="0" destOrd="0" parTransId="{624ECF28-5DBE-4381-A757-A9C989425D5C}" sibTransId="{B8B5A3E9-701A-4B26-8417-F3B2EF2BBB0B}"/>
    <dgm:cxn modelId="{C404F5B1-D4D5-4630-8F4E-B2A18A5C085F}" type="presOf" srcId="{ED88BB0B-4C7A-499B-A9CD-986E81615AEF}" destId="{4B0A1F1B-53A7-4E26-A228-B358B2D55A24}" srcOrd="0" destOrd="1" presId="urn:microsoft.com/office/officeart/2005/8/layout/list1"/>
    <dgm:cxn modelId="{1FB1C3B6-8259-4DDE-925A-3CB729E39FBD}" type="presOf" srcId="{A5BDA99D-F128-4511-B48A-7BF30D4585DC}" destId="{5345CC5A-3CA0-4CD0-885F-750DC14CBE0B}" srcOrd="1" destOrd="0" presId="urn:microsoft.com/office/officeart/2005/8/layout/list1"/>
    <dgm:cxn modelId="{EFC969B9-CFCF-4DBF-8775-81E5753C08CE}" type="presOf" srcId="{A8357F90-6211-41A3-A3B9-B5DB8578DF52}" destId="{B5543202-2FE9-4E30-B25A-596FA256A2CB}" srcOrd="0" destOrd="0" presId="urn:microsoft.com/office/officeart/2005/8/layout/list1"/>
    <dgm:cxn modelId="{531B3DBE-E338-44F1-974F-F9663EA741C4}" srcId="{8FA5E645-B0B4-423A-A6E0-A52504E47646}" destId="{18CACD65-6291-4278-9201-60DE58C637F5}" srcOrd="2" destOrd="0" parTransId="{C3338CA2-4644-4271-B2D3-7843DA63CC27}" sibTransId="{4EA181B0-CBBE-4824-BA88-6FE269680B0E}"/>
    <dgm:cxn modelId="{38DA21C2-189F-4AF4-A0E3-B22C56478EF1}" srcId="{8FA5E645-B0B4-423A-A6E0-A52504E47646}" destId="{37AE5DB6-5D7E-40A6-B2A5-38D421A5FCF6}" srcOrd="0" destOrd="0" parTransId="{EA78B916-2A70-400A-84F1-E18149D9118B}" sibTransId="{CC69915A-8629-429F-85FB-88EAF2EE1945}"/>
    <dgm:cxn modelId="{00D322C5-B0E8-4964-AF01-D81C0D61E7C7}" type="presOf" srcId="{A8357F90-6211-41A3-A3B9-B5DB8578DF52}" destId="{9AC1164C-B8A9-4BA0-826C-837D06002D2B}" srcOrd="1" destOrd="0" presId="urn:microsoft.com/office/officeart/2005/8/layout/list1"/>
    <dgm:cxn modelId="{4D6F69E7-D61C-469C-BF93-AEEF16F3797E}" type="presOf" srcId="{733CB742-2A31-482C-8175-7697CE3DBC6A}" destId="{1BE6CC60-0F0D-46CE-A406-F857BBCCE870}" srcOrd="0" destOrd="2" presId="urn:microsoft.com/office/officeart/2005/8/layout/list1"/>
    <dgm:cxn modelId="{E2BC63FD-FAFB-4917-9813-84AE0C9FA97B}" type="presOf" srcId="{8FA5E645-B0B4-423A-A6E0-A52504E47646}" destId="{B4B866C6-89C4-4EC6-86F7-321F9634A816}" srcOrd="0" destOrd="0" presId="urn:microsoft.com/office/officeart/2005/8/layout/list1"/>
    <dgm:cxn modelId="{C7804D97-ECE2-4C36-9A1D-311177B6EAD1}" type="presParOf" srcId="{14F71304-7523-4C61-B3FF-10A57A5BC66D}" destId="{5EFDB258-E7E9-4639-9DE2-4DDD1351A346}" srcOrd="0" destOrd="0" presId="urn:microsoft.com/office/officeart/2005/8/layout/list1"/>
    <dgm:cxn modelId="{4AA614CB-278F-48B5-9766-795A43218613}" type="presParOf" srcId="{5EFDB258-E7E9-4639-9DE2-4DDD1351A346}" destId="{0B39A00B-2017-40B3-AE69-DC600D82E5D6}" srcOrd="0" destOrd="0" presId="urn:microsoft.com/office/officeart/2005/8/layout/list1"/>
    <dgm:cxn modelId="{77E480E1-F568-47B0-8DDE-BF48AF468084}" type="presParOf" srcId="{5EFDB258-E7E9-4639-9DE2-4DDD1351A346}" destId="{5345CC5A-3CA0-4CD0-885F-750DC14CBE0B}" srcOrd="1" destOrd="0" presId="urn:microsoft.com/office/officeart/2005/8/layout/list1"/>
    <dgm:cxn modelId="{5D135C74-27A0-4BA6-83D0-C96E537C371E}" type="presParOf" srcId="{14F71304-7523-4C61-B3FF-10A57A5BC66D}" destId="{8D51E8C6-788C-463D-9416-517BFAF239D1}" srcOrd="1" destOrd="0" presId="urn:microsoft.com/office/officeart/2005/8/layout/list1"/>
    <dgm:cxn modelId="{04DA6623-18AA-4522-9C73-91FAC275D5F4}" type="presParOf" srcId="{14F71304-7523-4C61-B3FF-10A57A5BC66D}" destId="{4B0A1F1B-53A7-4E26-A228-B358B2D55A24}" srcOrd="2" destOrd="0" presId="urn:microsoft.com/office/officeart/2005/8/layout/list1"/>
    <dgm:cxn modelId="{83404E1F-E8BE-4A15-9683-7B4908548639}" type="presParOf" srcId="{14F71304-7523-4C61-B3FF-10A57A5BC66D}" destId="{49C7463E-6B71-4C0C-99E6-739470BBF00E}" srcOrd="3" destOrd="0" presId="urn:microsoft.com/office/officeart/2005/8/layout/list1"/>
    <dgm:cxn modelId="{E4506EDA-4A78-4B6B-98E2-53C0B8F08AA0}" type="presParOf" srcId="{14F71304-7523-4C61-B3FF-10A57A5BC66D}" destId="{0895B101-1AC8-4EAD-8D72-1E9145197251}" srcOrd="4" destOrd="0" presId="urn:microsoft.com/office/officeart/2005/8/layout/list1"/>
    <dgm:cxn modelId="{7AA318AC-9250-4703-9AB9-638D44C274DD}" type="presParOf" srcId="{0895B101-1AC8-4EAD-8D72-1E9145197251}" destId="{B5543202-2FE9-4E30-B25A-596FA256A2CB}" srcOrd="0" destOrd="0" presId="urn:microsoft.com/office/officeart/2005/8/layout/list1"/>
    <dgm:cxn modelId="{913C5D2B-A9DB-4C26-AA04-994CF7DEF6C6}" type="presParOf" srcId="{0895B101-1AC8-4EAD-8D72-1E9145197251}" destId="{9AC1164C-B8A9-4BA0-826C-837D06002D2B}" srcOrd="1" destOrd="0" presId="urn:microsoft.com/office/officeart/2005/8/layout/list1"/>
    <dgm:cxn modelId="{CC7D30C9-60D2-4BA9-8F0E-A209F77B5462}" type="presParOf" srcId="{14F71304-7523-4C61-B3FF-10A57A5BC66D}" destId="{49DCAD58-D452-4DEA-B44D-9714AC42BB17}" srcOrd="5" destOrd="0" presId="urn:microsoft.com/office/officeart/2005/8/layout/list1"/>
    <dgm:cxn modelId="{CECBBED3-22BE-43F2-9068-1CCDC101E18C}" type="presParOf" srcId="{14F71304-7523-4C61-B3FF-10A57A5BC66D}" destId="{1BE6CC60-0F0D-46CE-A406-F857BBCCE870}" srcOrd="6" destOrd="0" presId="urn:microsoft.com/office/officeart/2005/8/layout/list1"/>
    <dgm:cxn modelId="{A05E78E7-FD23-44D8-8B83-5C2FF3A21805}" type="presParOf" srcId="{14F71304-7523-4C61-B3FF-10A57A5BC66D}" destId="{7C5B6C29-D72D-462B-A9A2-97BC4E7DE2A1}" srcOrd="7" destOrd="0" presId="urn:microsoft.com/office/officeart/2005/8/layout/list1"/>
    <dgm:cxn modelId="{97F1D68E-EBC7-4259-8EBE-513A4BCE8DAA}" type="presParOf" srcId="{14F71304-7523-4C61-B3FF-10A57A5BC66D}" destId="{5D99D752-C898-4AC3-BEA6-FAEE27154FB0}" srcOrd="8" destOrd="0" presId="urn:microsoft.com/office/officeart/2005/8/layout/list1"/>
    <dgm:cxn modelId="{619764FA-0781-4264-9CE7-E1385F77FCC2}" type="presParOf" srcId="{5D99D752-C898-4AC3-BEA6-FAEE27154FB0}" destId="{B4B866C6-89C4-4EC6-86F7-321F9634A816}" srcOrd="0" destOrd="0" presId="urn:microsoft.com/office/officeart/2005/8/layout/list1"/>
    <dgm:cxn modelId="{08F3135A-EC87-4914-9E2A-F5F5A84DB282}" type="presParOf" srcId="{5D99D752-C898-4AC3-BEA6-FAEE27154FB0}" destId="{A2693F37-0C62-4143-8E0A-2BC5D60CCFE2}" srcOrd="1" destOrd="0" presId="urn:microsoft.com/office/officeart/2005/8/layout/list1"/>
    <dgm:cxn modelId="{5213C278-F4AC-4833-9A16-0CB0306F0263}" type="presParOf" srcId="{14F71304-7523-4C61-B3FF-10A57A5BC66D}" destId="{B9AB6BDE-446A-49CA-B8BC-BB1E016618EF}" srcOrd="9" destOrd="0" presId="urn:microsoft.com/office/officeart/2005/8/layout/list1"/>
    <dgm:cxn modelId="{815A72CA-4A95-41AC-8DD7-B6965994A575}" type="presParOf" srcId="{14F71304-7523-4C61-B3FF-10A57A5BC66D}" destId="{612B4DC7-D7D5-447A-8782-9062D6CCA1B2}"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22FA3CAF-7620-4DE0-8BE0-AB6377F70E43}"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82CAA821-B273-4923-B5B3-4E23DF13E778}">
      <dgm:prSet custT="1"/>
      <dgm:spPr/>
      <dgm:t>
        <a:bodyPr/>
        <a:lstStyle/>
        <a:p>
          <a:r>
            <a:rPr lang="en-US" sz="2400" baseline="0" dirty="0"/>
            <a:t>Returns information about a page in a database. </a:t>
          </a:r>
          <a:endParaRPr lang="en-US" sz="2400" dirty="0"/>
        </a:p>
      </dgm:t>
    </dgm:pt>
    <dgm:pt modelId="{AFC20455-DF58-417C-88C5-AF00FC608C61}" type="parTrans" cxnId="{5CB46BBA-F901-457A-9443-8F48415AB9EC}">
      <dgm:prSet/>
      <dgm:spPr/>
      <dgm:t>
        <a:bodyPr/>
        <a:lstStyle/>
        <a:p>
          <a:endParaRPr lang="en-US"/>
        </a:p>
      </dgm:t>
    </dgm:pt>
    <dgm:pt modelId="{185407C4-96C4-4191-A1F9-08F5587CB2C2}" type="sibTrans" cxnId="{5CB46BBA-F901-457A-9443-8F48415AB9EC}">
      <dgm:prSet/>
      <dgm:spPr/>
      <dgm:t>
        <a:bodyPr/>
        <a:lstStyle/>
        <a:p>
          <a:endParaRPr lang="en-US"/>
        </a:p>
      </dgm:t>
    </dgm:pt>
    <dgm:pt modelId="{948089E3-5B9C-4474-9051-0ED54BD162A0}">
      <dgm:prSet custT="1"/>
      <dgm:spPr/>
      <dgm:t>
        <a:bodyPr/>
        <a:lstStyle/>
        <a:p>
          <a:r>
            <a:rPr lang="en-US" sz="2400" baseline="0" dirty="0"/>
            <a:t>These functions replace the need to use DBCC PAGE.</a:t>
          </a:r>
          <a:endParaRPr lang="en-US" sz="2400" dirty="0"/>
        </a:p>
      </dgm:t>
    </dgm:pt>
    <dgm:pt modelId="{F61DB120-7E03-4F11-931A-DBD1E5DEA1D4}" type="parTrans" cxnId="{06494A8E-7271-4233-98D7-97C7493B8B22}">
      <dgm:prSet/>
      <dgm:spPr/>
      <dgm:t>
        <a:bodyPr/>
        <a:lstStyle/>
        <a:p>
          <a:endParaRPr lang="en-US"/>
        </a:p>
      </dgm:t>
    </dgm:pt>
    <dgm:pt modelId="{C915FEA0-1FDE-4D70-8960-EAF8AD73C09E}" type="sibTrans" cxnId="{06494A8E-7271-4233-98D7-97C7493B8B22}">
      <dgm:prSet/>
      <dgm:spPr/>
      <dgm:t>
        <a:bodyPr/>
        <a:lstStyle/>
        <a:p>
          <a:endParaRPr lang="en-US"/>
        </a:p>
      </dgm:t>
    </dgm:pt>
    <dgm:pt modelId="{12A19B1C-8354-41BC-8585-A57BDD419E08}" type="pres">
      <dgm:prSet presAssocID="{22FA3CAF-7620-4DE0-8BE0-AB6377F70E43}" presName="linear" presStyleCnt="0">
        <dgm:presLayoutVars>
          <dgm:animLvl val="lvl"/>
          <dgm:resizeHandles val="exact"/>
        </dgm:presLayoutVars>
      </dgm:prSet>
      <dgm:spPr/>
    </dgm:pt>
    <dgm:pt modelId="{9CA6332E-6220-4248-B9A2-231C7E77D4E6}" type="pres">
      <dgm:prSet presAssocID="{82CAA821-B273-4923-B5B3-4E23DF13E778}" presName="parentText" presStyleLbl="node1" presStyleIdx="0" presStyleCnt="2">
        <dgm:presLayoutVars>
          <dgm:chMax val="0"/>
          <dgm:bulletEnabled val="1"/>
        </dgm:presLayoutVars>
      </dgm:prSet>
      <dgm:spPr/>
    </dgm:pt>
    <dgm:pt modelId="{C76CEA89-4F64-40BF-AA50-249023BE62C4}" type="pres">
      <dgm:prSet presAssocID="{185407C4-96C4-4191-A1F9-08F5587CB2C2}" presName="spacer" presStyleCnt="0"/>
      <dgm:spPr/>
    </dgm:pt>
    <dgm:pt modelId="{EC09AE22-AA6C-4739-B54F-BA74EB8C0C49}" type="pres">
      <dgm:prSet presAssocID="{948089E3-5B9C-4474-9051-0ED54BD162A0}" presName="parentText" presStyleLbl="node1" presStyleIdx="1" presStyleCnt="2">
        <dgm:presLayoutVars>
          <dgm:chMax val="0"/>
          <dgm:bulletEnabled val="1"/>
        </dgm:presLayoutVars>
      </dgm:prSet>
      <dgm:spPr/>
    </dgm:pt>
  </dgm:ptLst>
  <dgm:cxnLst>
    <dgm:cxn modelId="{80B88B2B-C8EA-4191-97AB-C99C03F1AE23}" type="presOf" srcId="{22FA3CAF-7620-4DE0-8BE0-AB6377F70E43}" destId="{12A19B1C-8354-41BC-8585-A57BDD419E08}" srcOrd="0" destOrd="0" presId="urn:microsoft.com/office/officeart/2005/8/layout/vList2"/>
    <dgm:cxn modelId="{BCF0358B-6C95-41FB-BE1C-339AABB82BA3}" type="presOf" srcId="{948089E3-5B9C-4474-9051-0ED54BD162A0}" destId="{EC09AE22-AA6C-4739-B54F-BA74EB8C0C49}" srcOrd="0" destOrd="0" presId="urn:microsoft.com/office/officeart/2005/8/layout/vList2"/>
    <dgm:cxn modelId="{06494A8E-7271-4233-98D7-97C7493B8B22}" srcId="{22FA3CAF-7620-4DE0-8BE0-AB6377F70E43}" destId="{948089E3-5B9C-4474-9051-0ED54BD162A0}" srcOrd="1" destOrd="0" parTransId="{F61DB120-7E03-4F11-931A-DBD1E5DEA1D4}" sibTransId="{C915FEA0-1FDE-4D70-8960-EAF8AD73C09E}"/>
    <dgm:cxn modelId="{5CB46BBA-F901-457A-9443-8F48415AB9EC}" srcId="{22FA3CAF-7620-4DE0-8BE0-AB6377F70E43}" destId="{82CAA821-B273-4923-B5B3-4E23DF13E778}" srcOrd="0" destOrd="0" parTransId="{AFC20455-DF58-417C-88C5-AF00FC608C61}" sibTransId="{185407C4-96C4-4191-A1F9-08F5587CB2C2}"/>
    <dgm:cxn modelId="{E5CCD3DF-303B-4249-B47E-A926CE5AD4C2}" type="presOf" srcId="{82CAA821-B273-4923-B5B3-4E23DF13E778}" destId="{9CA6332E-6220-4248-B9A2-231C7E77D4E6}" srcOrd="0" destOrd="0" presId="urn:microsoft.com/office/officeart/2005/8/layout/vList2"/>
    <dgm:cxn modelId="{4593CBDE-F2FA-452B-AD31-487DF4D43DA7}" type="presParOf" srcId="{12A19B1C-8354-41BC-8585-A57BDD419E08}" destId="{9CA6332E-6220-4248-B9A2-231C7E77D4E6}" srcOrd="0" destOrd="0" presId="urn:microsoft.com/office/officeart/2005/8/layout/vList2"/>
    <dgm:cxn modelId="{E6374B60-206C-44E6-8446-9C63342CF945}" type="presParOf" srcId="{12A19B1C-8354-41BC-8585-A57BDD419E08}" destId="{C76CEA89-4F64-40BF-AA50-249023BE62C4}" srcOrd="1" destOrd="0" presId="urn:microsoft.com/office/officeart/2005/8/layout/vList2"/>
    <dgm:cxn modelId="{4398EF96-93B7-46A9-A7B5-27183470A6A2}" type="presParOf" srcId="{12A19B1C-8354-41BC-8585-A57BDD419E08}" destId="{EC09AE22-AA6C-4739-B54F-BA74EB8C0C49}"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5CC466B-3C48-46C7-993E-CC5E95619B7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166C79AA-624C-444D-B7E6-C6159CC1B257}">
      <dgm:prSet/>
      <dgm:spPr/>
      <dgm:t>
        <a:bodyPr/>
        <a:lstStyle/>
        <a:p>
          <a:r>
            <a:rPr lang="en-US" baseline="0"/>
            <a:t>Data files are structured in extents. </a:t>
          </a:r>
          <a:endParaRPr lang="en-US"/>
        </a:p>
      </dgm:t>
    </dgm:pt>
    <dgm:pt modelId="{CE050B9F-E8EE-4A7F-8050-6D239F3AE4B2}" type="parTrans" cxnId="{EA772A9D-D3D6-4C1C-B271-AA7E51AA15B3}">
      <dgm:prSet/>
      <dgm:spPr/>
      <dgm:t>
        <a:bodyPr/>
        <a:lstStyle/>
        <a:p>
          <a:endParaRPr lang="en-US"/>
        </a:p>
      </dgm:t>
    </dgm:pt>
    <dgm:pt modelId="{6F13A982-8793-48E8-847F-365C18D9CC58}" type="sibTrans" cxnId="{EA772A9D-D3D6-4C1C-B271-AA7E51AA15B3}">
      <dgm:prSet/>
      <dgm:spPr/>
      <dgm:t>
        <a:bodyPr/>
        <a:lstStyle/>
        <a:p>
          <a:endParaRPr lang="en-US"/>
        </a:p>
      </dgm:t>
    </dgm:pt>
    <dgm:pt modelId="{6CA311E9-C129-4586-87B3-E60E7A99BA22}">
      <dgm:prSet/>
      <dgm:spPr/>
      <dgm:t>
        <a:bodyPr/>
        <a:lstStyle/>
        <a:p>
          <a:r>
            <a:rPr lang="en-US" baseline="0" dirty="0"/>
            <a:t>Each extent (64 KB) has eight pages of 8 KB each.</a:t>
          </a:r>
          <a:endParaRPr lang="en-US" dirty="0"/>
        </a:p>
      </dgm:t>
    </dgm:pt>
    <dgm:pt modelId="{35652170-CAC8-4926-B3DA-4883FE6F54F6}" type="parTrans" cxnId="{F7670F2C-1456-479D-A38E-9F0B728771E2}">
      <dgm:prSet/>
      <dgm:spPr/>
      <dgm:t>
        <a:bodyPr/>
        <a:lstStyle/>
        <a:p>
          <a:endParaRPr lang="en-US"/>
        </a:p>
      </dgm:t>
    </dgm:pt>
    <dgm:pt modelId="{0139DF6E-0FDD-4872-AFAF-EBCFB6582167}" type="sibTrans" cxnId="{F7670F2C-1456-479D-A38E-9F0B728771E2}">
      <dgm:prSet/>
      <dgm:spPr/>
      <dgm:t>
        <a:bodyPr/>
        <a:lstStyle/>
        <a:p>
          <a:endParaRPr lang="en-US"/>
        </a:p>
      </dgm:t>
    </dgm:pt>
    <dgm:pt modelId="{2CB697DF-8B25-4FBD-936D-79A38C70475D}">
      <dgm:prSet/>
      <dgm:spPr/>
      <dgm:t>
        <a:bodyPr/>
        <a:lstStyle/>
        <a:p>
          <a:r>
            <a:rPr lang="en-US" baseline="0"/>
            <a:t>Two types of extents:</a:t>
          </a:r>
          <a:endParaRPr lang="en-US"/>
        </a:p>
      </dgm:t>
    </dgm:pt>
    <dgm:pt modelId="{AC1D29CA-1112-456B-90F8-2E1999E79A6C}" type="parTrans" cxnId="{81478A7D-5059-4D9F-A9A1-FDED7311A766}">
      <dgm:prSet/>
      <dgm:spPr/>
      <dgm:t>
        <a:bodyPr/>
        <a:lstStyle/>
        <a:p>
          <a:endParaRPr lang="en-US"/>
        </a:p>
      </dgm:t>
    </dgm:pt>
    <dgm:pt modelId="{E4290F60-BAFB-4BE9-A6EA-F345B9EB6FC8}" type="sibTrans" cxnId="{81478A7D-5059-4D9F-A9A1-FDED7311A766}">
      <dgm:prSet/>
      <dgm:spPr/>
      <dgm:t>
        <a:bodyPr/>
        <a:lstStyle/>
        <a:p>
          <a:endParaRPr lang="en-US"/>
        </a:p>
      </dgm:t>
    </dgm:pt>
    <dgm:pt modelId="{547008BC-326A-4392-904D-E16C3BB5C6CF}">
      <dgm:prSet/>
      <dgm:spPr/>
      <dgm:t>
        <a:bodyPr/>
        <a:lstStyle/>
        <a:p>
          <a:r>
            <a:rPr lang="en-US" baseline="0" dirty="0"/>
            <a:t>Mixed extents (Managed by SGAM Page)</a:t>
          </a:r>
          <a:endParaRPr lang="en-US" dirty="0"/>
        </a:p>
      </dgm:t>
    </dgm:pt>
    <dgm:pt modelId="{49A6EFB1-C39E-4803-8858-E94E073DD737}" type="parTrans" cxnId="{29F6306E-DCE4-426B-B4FA-9CC9250D84FF}">
      <dgm:prSet/>
      <dgm:spPr/>
      <dgm:t>
        <a:bodyPr/>
        <a:lstStyle/>
        <a:p>
          <a:endParaRPr lang="en-US"/>
        </a:p>
      </dgm:t>
    </dgm:pt>
    <dgm:pt modelId="{FF9681E9-DBB6-4A7F-A0D4-3AD95714A12B}" type="sibTrans" cxnId="{29F6306E-DCE4-426B-B4FA-9CC9250D84FF}">
      <dgm:prSet/>
      <dgm:spPr/>
      <dgm:t>
        <a:bodyPr/>
        <a:lstStyle/>
        <a:p>
          <a:endParaRPr lang="en-US"/>
        </a:p>
      </dgm:t>
    </dgm:pt>
    <dgm:pt modelId="{6392A201-99C2-40E0-884F-51FBFBB41BC4}">
      <dgm:prSet/>
      <dgm:spPr/>
      <dgm:t>
        <a:bodyPr/>
        <a:lstStyle/>
        <a:p>
          <a:r>
            <a:rPr lang="en-US" baseline="0" dirty="0"/>
            <a:t>Up to 8 distinct objects can reside in the same Mixed Extent.</a:t>
          </a:r>
          <a:endParaRPr lang="en-US" dirty="0"/>
        </a:p>
      </dgm:t>
    </dgm:pt>
    <dgm:pt modelId="{B169EC46-0B90-4F46-B69F-74951443FFDE}" type="parTrans" cxnId="{0C40F311-0A9D-41D9-B114-E841C21C7163}">
      <dgm:prSet/>
      <dgm:spPr/>
      <dgm:t>
        <a:bodyPr/>
        <a:lstStyle/>
        <a:p>
          <a:endParaRPr lang="en-US"/>
        </a:p>
      </dgm:t>
    </dgm:pt>
    <dgm:pt modelId="{B2EB457D-0AC3-4323-ADF3-D37AEFB84686}" type="sibTrans" cxnId="{0C40F311-0A9D-41D9-B114-E841C21C7163}">
      <dgm:prSet/>
      <dgm:spPr/>
      <dgm:t>
        <a:bodyPr/>
        <a:lstStyle/>
        <a:p>
          <a:endParaRPr lang="en-US"/>
        </a:p>
      </dgm:t>
    </dgm:pt>
    <dgm:pt modelId="{DA2C792B-2BC4-4202-A164-3B931BC0FADF}">
      <dgm:prSet/>
      <dgm:spPr/>
      <dgm:t>
        <a:bodyPr/>
        <a:lstStyle/>
        <a:p>
          <a:r>
            <a:rPr lang="en-US" baseline="0" dirty="0"/>
            <a:t>Uniform extents (Managed by GAM Page)</a:t>
          </a:r>
          <a:endParaRPr lang="en-US" dirty="0"/>
        </a:p>
      </dgm:t>
    </dgm:pt>
    <dgm:pt modelId="{92EFE0E7-E6C9-4EDC-A282-87CB78D1930D}" type="parTrans" cxnId="{54FA9D72-0483-4573-BC1D-476F69E0098A}">
      <dgm:prSet/>
      <dgm:spPr/>
      <dgm:t>
        <a:bodyPr/>
        <a:lstStyle/>
        <a:p>
          <a:endParaRPr lang="en-US"/>
        </a:p>
      </dgm:t>
    </dgm:pt>
    <dgm:pt modelId="{E4DC65D3-2CE5-4A4A-BC12-172C0416D0DA}" type="sibTrans" cxnId="{54FA9D72-0483-4573-BC1D-476F69E0098A}">
      <dgm:prSet/>
      <dgm:spPr/>
      <dgm:t>
        <a:bodyPr/>
        <a:lstStyle/>
        <a:p>
          <a:endParaRPr lang="en-US"/>
        </a:p>
      </dgm:t>
    </dgm:pt>
    <dgm:pt modelId="{81303409-44CC-4DF0-9D2D-71D5BBC36F6B}">
      <dgm:prSet/>
      <dgm:spPr/>
      <dgm:t>
        <a:bodyPr/>
        <a:lstStyle/>
        <a:p>
          <a:r>
            <a:rPr lang="en-US" baseline="0" dirty="0"/>
            <a:t>All pages belong to the same object.</a:t>
          </a:r>
          <a:endParaRPr lang="en-US" dirty="0"/>
        </a:p>
      </dgm:t>
    </dgm:pt>
    <dgm:pt modelId="{3913C66A-6BCE-49E8-A1F6-CEDD97C924F4}" type="parTrans" cxnId="{FFFD5EA9-5395-4B4B-B1B7-E1002E492470}">
      <dgm:prSet/>
      <dgm:spPr/>
      <dgm:t>
        <a:bodyPr/>
        <a:lstStyle/>
        <a:p>
          <a:endParaRPr lang="en-US"/>
        </a:p>
      </dgm:t>
    </dgm:pt>
    <dgm:pt modelId="{14405212-E193-42E5-85A0-ACA28C801609}" type="sibTrans" cxnId="{FFFD5EA9-5395-4B4B-B1B7-E1002E492470}">
      <dgm:prSet/>
      <dgm:spPr/>
      <dgm:t>
        <a:bodyPr/>
        <a:lstStyle/>
        <a:p>
          <a:endParaRPr lang="en-US"/>
        </a:p>
      </dgm:t>
    </dgm:pt>
    <dgm:pt modelId="{59E4A156-BEFC-4C58-ABC0-5207BB4C2D46}" type="pres">
      <dgm:prSet presAssocID="{05CC466B-3C48-46C7-993E-CC5E95619B7C}" presName="linear" presStyleCnt="0">
        <dgm:presLayoutVars>
          <dgm:animLvl val="lvl"/>
          <dgm:resizeHandles val="exact"/>
        </dgm:presLayoutVars>
      </dgm:prSet>
      <dgm:spPr/>
    </dgm:pt>
    <dgm:pt modelId="{393F5FA1-6CFA-44C1-9213-0458BD7F05A0}" type="pres">
      <dgm:prSet presAssocID="{166C79AA-624C-444D-B7E6-C6159CC1B257}" presName="parentText" presStyleLbl="node1" presStyleIdx="0" presStyleCnt="3">
        <dgm:presLayoutVars>
          <dgm:chMax val="0"/>
          <dgm:bulletEnabled val="1"/>
        </dgm:presLayoutVars>
      </dgm:prSet>
      <dgm:spPr/>
    </dgm:pt>
    <dgm:pt modelId="{560BE2AB-C31A-446F-B40F-429F57B483D2}" type="pres">
      <dgm:prSet presAssocID="{6F13A982-8793-48E8-847F-365C18D9CC58}" presName="spacer" presStyleCnt="0"/>
      <dgm:spPr/>
    </dgm:pt>
    <dgm:pt modelId="{BCC9BC02-507F-4818-810B-C786625D9942}" type="pres">
      <dgm:prSet presAssocID="{6CA311E9-C129-4586-87B3-E60E7A99BA22}" presName="parentText" presStyleLbl="node1" presStyleIdx="1" presStyleCnt="3">
        <dgm:presLayoutVars>
          <dgm:chMax val="0"/>
          <dgm:bulletEnabled val="1"/>
        </dgm:presLayoutVars>
      </dgm:prSet>
      <dgm:spPr/>
    </dgm:pt>
    <dgm:pt modelId="{E5D06992-8136-4280-B5B8-DE9BD940E20F}" type="pres">
      <dgm:prSet presAssocID="{0139DF6E-0FDD-4872-AFAF-EBCFB6582167}" presName="spacer" presStyleCnt="0"/>
      <dgm:spPr/>
    </dgm:pt>
    <dgm:pt modelId="{55104C2A-E831-4EB5-B246-E42A01B66DCE}" type="pres">
      <dgm:prSet presAssocID="{2CB697DF-8B25-4FBD-936D-79A38C70475D}" presName="parentText" presStyleLbl="node1" presStyleIdx="2" presStyleCnt="3">
        <dgm:presLayoutVars>
          <dgm:chMax val="0"/>
          <dgm:bulletEnabled val="1"/>
        </dgm:presLayoutVars>
      </dgm:prSet>
      <dgm:spPr/>
    </dgm:pt>
    <dgm:pt modelId="{8C114712-75C2-484B-9964-6058FCA20C15}" type="pres">
      <dgm:prSet presAssocID="{2CB697DF-8B25-4FBD-936D-79A38C70475D}" presName="childText" presStyleLbl="revTx" presStyleIdx="0" presStyleCnt="1">
        <dgm:presLayoutVars>
          <dgm:bulletEnabled val="1"/>
        </dgm:presLayoutVars>
      </dgm:prSet>
      <dgm:spPr/>
    </dgm:pt>
  </dgm:ptLst>
  <dgm:cxnLst>
    <dgm:cxn modelId="{0C40F311-0A9D-41D9-B114-E841C21C7163}" srcId="{547008BC-326A-4392-904D-E16C3BB5C6CF}" destId="{6392A201-99C2-40E0-884F-51FBFBB41BC4}" srcOrd="0" destOrd="0" parTransId="{B169EC46-0B90-4F46-B69F-74951443FFDE}" sibTransId="{B2EB457D-0AC3-4323-ADF3-D37AEFB84686}"/>
    <dgm:cxn modelId="{2EF1C122-0C81-4F71-8FCC-14A99C7CE9CE}" type="presOf" srcId="{166C79AA-624C-444D-B7E6-C6159CC1B257}" destId="{393F5FA1-6CFA-44C1-9213-0458BD7F05A0}" srcOrd="0" destOrd="0" presId="urn:microsoft.com/office/officeart/2005/8/layout/vList2"/>
    <dgm:cxn modelId="{F7670F2C-1456-479D-A38E-9F0B728771E2}" srcId="{05CC466B-3C48-46C7-993E-CC5E95619B7C}" destId="{6CA311E9-C129-4586-87B3-E60E7A99BA22}" srcOrd="1" destOrd="0" parTransId="{35652170-CAC8-4926-B3DA-4883FE6F54F6}" sibTransId="{0139DF6E-0FDD-4872-AFAF-EBCFB6582167}"/>
    <dgm:cxn modelId="{F322295B-6285-4544-AE67-BF281D30CA4F}" type="presOf" srcId="{05CC466B-3C48-46C7-993E-CC5E95619B7C}" destId="{59E4A156-BEFC-4C58-ABC0-5207BB4C2D46}" srcOrd="0" destOrd="0" presId="urn:microsoft.com/office/officeart/2005/8/layout/vList2"/>
    <dgm:cxn modelId="{F4F37660-EEDC-4437-B114-D7444F913819}" type="presOf" srcId="{6CA311E9-C129-4586-87B3-E60E7A99BA22}" destId="{BCC9BC02-507F-4818-810B-C786625D9942}" srcOrd="0" destOrd="0" presId="urn:microsoft.com/office/officeart/2005/8/layout/vList2"/>
    <dgm:cxn modelId="{29F6306E-DCE4-426B-B4FA-9CC9250D84FF}" srcId="{2CB697DF-8B25-4FBD-936D-79A38C70475D}" destId="{547008BC-326A-4392-904D-E16C3BB5C6CF}" srcOrd="0" destOrd="0" parTransId="{49A6EFB1-C39E-4803-8858-E94E073DD737}" sibTransId="{FF9681E9-DBB6-4A7F-A0D4-3AD95714A12B}"/>
    <dgm:cxn modelId="{54FA9D72-0483-4573-BC1D-476F69E0098A}" srcId="{2CB697DF-8B25-4FBD-936D-79A38C70475D}" destId="{DA2C792B-2BC4-4202-A164-3B931BC0FADF}" srcOrd="1" destOrd="0" parTransId="{92EFE0E7-E6C9-4EDC-A282-87CB78D1930D}" sibTransId="{E4DC65D3-2CE5-4A4A-BC12-172C0416D0DA}"/>
    <dgm:cxn modelId="{921F1956-5FF1-439D-A03B-3943036C21D4}" type="presOf" srcId="{81303409-44CC-4DF0-9D2D-71D5BBC36F6B}" destId="{8C114712-75C2-484B-9964-6058FCA20C15}" srcOrd="0" destOrd="3" presId="urn:microsoft.com/office/officeart/2005/8/layout/vList2"/>
    <dgm:cxn modelId="{81478A7D-5059-4D9F-A9A1-FDED7311A766}" srcId="{05CC466B-3C48-46C7-993E-CC5E95619B7C}" destId="{2CB697DF-8B25-4FBD-936D-79A38C70475D}" srcOrd="2" destOrd="0" parTransId="{AC1D29CA-1112-456B-90F8-2E1999E79A6C}" sibTransId="{E4290F60-BAFB-4BE9-A6EA-F345B9EB6FC8}"/>
    <dgm:cxn modelId="{EA772A9D-D3D6-4C1C-B271-AA7E51AA15B3}" srcId="{05CC466B-3C48-46C7-993E-CC5E95619B7C}" destId="{166C79AA-624C-444D-B7E6-C6159CC1B257}" srcOrd="0" destOrd="0" parTransId="{CE050B9F-E8EE-4A7F-8050-6D239F3AE4B2}" sibTransId="{6F13A982-8793-48E8-847F-365C18D9CC58}"/>
    <dgm:cxn modelId="{FFFD5EA9-5395-4B4B-B1B7-E1002E492470}" srcId="{DA2C792B-2BC4-4202-A164-3B931BC0FADF}" destId="{81303409-44CC-4DF0-9D2D-71D5BBC36F6B}" srcOrd="0" destOrd="0" parTransId="{3913C66A-6BCE-49E8-A1F6-CEDD97C924F4}" sibTransId="{14405212-E193-42E5-85A0-ACA28C801609}"/>
    <dgm:cxn modelId="{4F84DEA9-8D24-4AD9-9B37-03D49D2D5DCA}" type="presOf" srcId="{2CB697DF-8B25-4FBD-936D-79A38C70475D}" destId="{55104C2A-E831-4EB5-B246-E42A01B66DCE}" srcOrd="0" destOrd="0" presId="urn:microsoft.com/office/officeart/2005/8/layout/vList2"/>
    <dgm:cxn modelId="{EA9CC6E1-ABB8-45E0-B0FF-B9EFC888DC59}" type="presOf" srcId="{DA2C792B-2BC4-4202-A164-3B931BC0FADF}" destId="{8C114712-75C2-484B-9964-6058FCA20C15}" srcOrd="0" destOrd="2" presId="urn:microsoft.com/office/officeart/2005/8/layout/vList2"/>
    <dgm:cxn modelId="{0AEE8EE5-65AB-430C-98A8-6516B781C6FE}" type="presOf" srcId="{6392A201-99C2-40E0-884F-51FBFBB41BC4}" destId="{8C114712-75C2-484B-9964-6058FCA20C15}" srcOrd="0" destOrd="1" presId="urn:microsoft.com/office/officeart/2005/8/layout/vList2"/>
    <dgm:cxn modelId="{17B1C8EA-7370-4A34-963D-152DE36065D7}" type="presOf" srcId="{547008BC-326A-4392-904D-E16C3BB5C6CF}" destId="{8C114712-75C2-484B-9964-6058FCA20C15}" srcOrd="0" destOrd="0" presId="urn:microsoft.com/office/officeart/2005/8/layout/vList2"/>
    <dgm:cxn modelId="{B9F49242-52D4-4A7D-A326-B3A29632B4BD}" type="presParOf" srcId="{59E4A156-BEFC-4C58-ABC0-5207BB4C2D46}" destId="{393F5FA1-6CFA-44C1-9213-0458BD7F05A0}" srcOrd="0" destOrd="0" presId="urn:microsoft.com/office/officeart/2005/8/layout/vList2"/>
    <dgm:cxn modelId="{DAD04837-A06E-4E36-9144-34714FD2C8F0}" type="presParOf" srcId="{59E4A156-BEFC-4C58-ABC0-5207BB4C2D46}" destId="{560BE2AB-C31A-446F-B40F-429F57B483D2}" srcOrd="1" destOrd="0" presId="urn:microsoft.com/office/officeart/2005/8/layout/vList2"/>
    <dgm:cxn modelId="{754BC005-F61E-4E5A-A878-3DB94718C998}" type="presParOf" srcId="{59E4A156-BEFC-4C58-ABC0-5207BB4C2D46}" destId="{BCC9BC02-507F-4818-810B-C786625D9942}" srcOrd="2" destOrd="0" presId="urn:microsoft.com/office/officeart/2005/8/layout/vList2"/>
    <dgm:cxn modelId="{5F13CEB7-432E-4874-ABC5-8885012EACF0}" type="presParOf" srcId="{59E4A156-BEFC-4C58-ABC0-5207BB4C2D46}" destId="{E5D06992-8136-4280-B5B8-DE9BD940E20F}" srcOrd="3" destOrd="0" presId="urn:microsoft.com/office/officeart/2005/8/layout/vList2"/>
    <dgm:cxn modelId="{06C02055-AAC3-4061-B705-021B21B2F5A7}" type="presParOf" srcId="{59E4A156-BEFC-4C58-ABC0-5207BB4C2D46}" destId="{55104C2A-E831-4EB5-B246-E42A01B66DCE}" srcOrd="4" destOrd="0" presId="urn:microsoft.com/office/officeart/2005/8/layout/vList2"/>
    <dgm:cxn modelId="{9D0DE1F2-41E2-4083-A5E9-EF6D7A0D419B}" type="presParOf" srcId="{59E4A156-BEFC-4C58-ABC0-5207BB4C2D46}" destId="{8C114712-75C2-484B-9964-6058FCA20C1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AA288B6-F025-4112-B1E4-9213B1C766FE}"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FFBD2AE9-2FB2-4D8A-ADAD-61DAA6A4D0BC}">
      <dgm:prSet/>
      <dgm:spPr>
        <a:xfrm>
          <a:off x="0" y="238739"/>
          <a:ext cx="7010400" cy="1212120"/>
        </a:xfrm>
      </dgm:spPr>
      <dgm:t>
        <a:bodyPr/>
        <a:lstStyle/>
        <a:p>
          <a:r>
            <a:rPr lang="en-US" baseline="0" dirty="0">
              <a:latin typeface="Segoe UI"/>
              <a:ea typeface="+mn-ea"/>
              <a:cs typeface="+mn-cs"/>
            </a:rPr>
            <a:t>PFS and IAM are used to determine when an object needs a new extent allocated</a:t>
          </a:r>
          <a:endParaRPr lang="en-US" dirty="0">
            <a:latin typeface="Segoe UI"/>
            <a:ea typeface="+mn-ea"/>
            <a:cs typeface="+mn-cs"/>
          </a:endParaRPr>
        </a:p>
      </dgm:t>
    </dgm:pt>
    <dgm:pt modelId="{FBAD97CF-A32E-4A83-AC0B-FC430F3E1D39}" type="parTrans" cxnId="{4CD7ED88-D963-439F-8176-3523DB423947}">
      <dgm:prSet/>
      <dgm:spPr/>
      <dgm:t>
        <a:bodyPr/>
        <a:lstStyle/>
        <a:p>
          <a:endParaRPr lang="en-US"/>
        </a:p>
      </dgm:t>
    </dgm:pt>
    <dgm:pt modelId="{43D0085A-223F-48BA-9873-F48D082C2FCA}" type="sibTrans" cxnId="{4CD7ED88-D963-439F-8176-3523DB423947}">
      <dgm:prSet/>
      <dgm:spPr/>
      <dgm:t>
        <a:bodyPr/>
        <a:lstStyle/>
        <a:p>
          <a:endParaRPr lang="en-US"/>
        </a:p>
      </dgm:t>
    </dgm:pt>
    <dgm:pt modelId="{530C52B2-E8CE-465A-BDBE-4E35A9259CB8}">
      <dgm:prSet/>
      <dgm:spPr>
        <a:xfrm>
          <a:off x="0" y="1531500"/>
          <a:ext cx="7010400" cy="1212120"/>
        </a:xfrm>
      </dgm:spPr>
      <dgm:t>
        <a:bodyPr/>
        <a:lstStyle/>
        <a:p>
          <a:r>
            <a:rPr lang="en-US" baseline="0" dirty="0">
              <a:latin typeface="Segoe UI"/>
              <a:ea typeface="+mn-ea"/>
              <a:cs typeface="+mn-cs"/>
            </a:rPr>
            <a:t>GAMs and SGAMs are used to allocate the extent</a:t>
          </a:r>
          <a:endParaRPr lang="en-US" dirty="0">
            <a:latin typeface="Segoe UI"/>
            <a:ea typeface="+mn-ea"/>
            <a:cs typeface="+mn-cs"/>
          </a:endParaRPr>
        </a:p>
      </dgm:t>
    </dgm:pt>
    <dgm:pt modelId="{9C626B18-E115-4918-B4AF-105EFE7C0D3F}" type="parTrans" cxnId="{F5ACBDCC-B386-4646-896E-D47CB377DB4D}">
      <dgm:prSet/>
      <dgm:spPr/>
      <dgm:t>
        <a:bodyPr/>
        <a:lstStyle/>
        <a:p>
          <a:endParaRPr lang="en-US"/>
        </a:p>
      </dgm:t>
    </dgm:pt>
    <dgm:pt modelId="{16567E35-76A9-4660-9452-976CC20D4778}" type="sibTrans" cxnId="{F5ACBDCC-B386-4646-896E-D47CB377DB4D}">
      <dgm:prSet/>
      <dgm:spPr/>
      <dgm:t>
        <a:bodyPr/>
        <a:lstStyle/>
        <a:p>
          <a:endParaRPr lang="en-US"/>
        </a:p>
      </dgm:t>
    </dgm:pt>
    <dgm:pt modelId="{859C94D3-9667-4A59-8D15-F543AFE106FD}" type="pres">
      <dgm:prSet presAssocID="{1AA288B6-F025-4112-B1E4-9213B1C766FE}" presName="diagram" presStyleCnt="0">
        <dgm:presLayoutVars>
          <dgm:dir/>
          <dgm:resizeHandles val="exact"/>
        </dgm:presLayoutVars>
      </dgm:prSet>
      <dgm:spPr/>
    </dgm:pt>
    <dgm:pt modelId="{F9D81896-5617-4CC3-8571-40FC75A78D98}" type="pres">
      <dgm:prSet presAssocID="{FFBD2AE9-2FB2-4D8A-ADAD-61DAA6A4D0BC}" presName="node" presStyleLbl="node1" presStyleIdx="0" presStyleCnt="2">
        <dgm:presLayoutVars>
          <dgm:bulletEnabled val="1"/>
        </dgm:presLayoutVars>
      </dgm:prSet>
      <dgm:spPr>
        <a:prstGeom prst="roundRect">
          <a:avLst/>
        </a:prstGeom>
      </dgm:spPr>
    </dgm:pt>
    <dgm:pt modelId="{E34C307D-9544-4845-BD09-76E84AFFD872}" type="pres">
      <dgm:prSet presAssocID="{43D0085A-223F-48BA-9873-F48D082C2FCA}" presName="sibTrans" presStyleCnt="0"/>
      <dgm:spPr/>
    </dgm:pt>
    <dgm:pt modelId="{E7D5672E-1078-4242-B34A-3CB1D3C8E10B}" type="pres">
      <dgm:prSet presAssocID="{530C52B2-E8CE-465A-BDBE-4E35A9259CB8}" presName="node" presStyleLbl="node1" presStyleIdx="1" presStyleCnt="2">
        <dgm:presLayoutVars>
          <dgm:bulletEnabled val="1"/>
        </dgm:presLayoutVars>
      </dgm:prSet>
      <dgm:spPr>
        <a:prstGeom prst="roundRect">
          <a:avLst/>
        </a:prstGeom>
      </dgm:spPr>
    </dgm:pt>
  </dgm:ptLst>
  <dgm:cxnLst>
    <dgm:cxn modelId="{2FB26616-88F0-4D2D-94BA-81DB425DABAB}" type="presOf" srcId="{530C52B2-E8CE-465A-BDBE-4E35A9259CB8}" destId="{E7D5672E-1078-4242-B34A-3CB1D3C8E10B}" srcOrd="0" destOrd="0" presId="urn:microsoft.com/office/officeart/2005/8/layout/default"/>
    <dgm:cxn modelId="{697AE383-14AC-4ADA-BCE7-73139FCD2D96}" type="presOf" srcId="{1AA288B6-F025-4112-B1E4-9213B1C766FE}" destId="{859C94D3-9667-4A59-8D15-F543AFE106FD}" srcOrd="0" destOrd="0" presId="urn:microsoft.com/office/officeart/2005/8/layout/default"/>
    <dgm:cxn modelId="{4CD7ED88-D963-439F-8176-3523DB423947}" srcId="{1AA288B6-F025-4112-B1E4-9213B1C766FE}" destId="{FFBD2AE9-2FB2-4D8A-ADAD-61DAA6A4D0BC}" srcOrd="0" destOrd="0" parTransId="{FBAD97CF-A32E-4A83-AC0B-FC430F3E1D39}" sibTransId="{43D0085A-223F-48BA-9873-F48D082C2FCA}"/>
    <dgm:cxn modelId="{4E1BA698-60FB-4DE9-AE7C-52707DB59571}" type="presOf" srcId="{FFBD2AE9-2FB2-4D8A-ADAD-61DAA6A4D0BC}" destId="{F9D81896-5617-4CC3-8571-40FC75A78D98}" srcOrd="0" destOrd="0" presId="urn:microsoft.com/office/officeart/2005/8/layout/default"/>
    <dgm:cxn modelId="{F5ACBDCC-B386-4646-896E-D47CB377DB4D}" srcId="{1AA288B6-F025-4112-B1E4-9213B1C766FE}" destId="{530C52B2-E8CE-465A-BDBE-4E35A9259CB8}" srcOrd="1" destOrd="0" parTransId="{9C626B18-E115-4918-B4AF-105EFE7C0D3F}" sibTransId="{16567E35-76A9-4660-9452-976CC20D4778}"/>
    <dgm:cxn modelId="{0C36E098-262E-480E-97AD-D5F8F2A7E4B5}" type="presParOf" srcId="{859C94D3-9667-4A59-8D15-F543AFE106FD}" destId="{F9D81896-5617-4CC3-8571-40FC75A78D98}" srcOrd="0" destOrd="0" presId="urn:microsoft.com/office/officeart/2005/8/layout/default"/>
    <dgm:cxn modelId="{CF744B63-DAF4-482C-B43F-43F784EFBDE1}" type="presParOf" srcId="{859C94D3-9667-4A59-8D15-F543AFE106FD}" destId="{E34C307D-9544-4845-BD09-76E84AFFD872}" srcOrd="1" destOrd="0" presId="urn:microsoft.com/office/officeart/2005/8/layout/default"/>
    <dgm:cxn modelId="{137DBC67-6CE6-465D-94FD-987EA07CA67A}" type="presParOf" srcId="{859C94D3-9667-4A59-8D15-F543AFE106FD}" destId="{E7D5672E-1078-4242-B34A-3CB1D3C8E10B}"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C27B579-201C-453D-AD79-EE550645F001}"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94204D9-D84F-4879-AD13-AE7C35A4F483}">
      <dgm:prSet custT="1"/>
      <dgm:spPr/>
      <dgm:t>
        <a:bodyPr/>
        <a:lstStyle/>
        <a:p>
          <a:r>
            <a:rPr lang="en-US" sz="1800" baseline="0" dirty="0"/>
            <a:t>Page Free Space (PFS)</a:t>
          </a:r>
          <a:endParaRPr lang="en-US" sz="1800" dirty="0"/>
        </a:p>
      </dgm:t>
    </dgm:pt>
    <dgm:pt modelId="{11198DCD-E631-4B79-870C-78DB06D25631}" type="parTrans" cxnId="{385A0481-3D2B-4860-B699-40C25CC2F831}">
      <dgm:prSet/>
      <dgm:spPr/>
      <dgm:t>
        <a:bodyPr/>
        <a:lstStyle/>
        <a:p>
          <a:endParaRPr lang="en-US"/>
        </a:p>
      </dgm:t>
    </dgm:pt>
    <dgm:pt modelId="{B9B56087-FA8F-4471-AF9E-BDCDA76E229D}" type="sibTrans" cxnId="{385A0481-3D2B-4860-B699-40C25CC2F831}">
      <dgm:prSet/>
      <dgm:spPr/>
      <dgm:t>
        <a:bodyPr/>
        <a:lstStyle/>
        <a:p>
          <a:endParaRPr lang="en-US"/>
        </a:p>
      </dgm:t>
    </dgm:pt>
    <dgm:pt modelId="{EBE58DEA-5DAB-4106-9B99-DD165D918FEC}">
      <dgm:prSet/>
      <dgm:spPr/>
      <dgm:t>
        <a:bodyPr/>
        <a:lstStyle/>
        <a:p>
          <a:r>
            <a:rPr lang="en-US" baseline="0" dirty="0"/>
            <a:t>Tracks free space on a page uses 1 Byte/Page</a:t>
          </a:r>
          <a:endParaRPr lang="en-US" dirty="0"/>
        </a:p>
      </dgm:t>
    </dgm:pt>
    <dgm:pt modelId="{1ADE4576-AFCF-486B-A35E-6753E221CC49}" type="parTrans" cxnId="{8DE5C0E1-4682-4FF6-8070-240C66D85CC1}">
      <dgm:prSet/>
      <dgm:spPr/>
      <dgm:t>
        <a:bodyPr/>
        <a:lstStyle/>
        <a:p>
          <a:endParaRPr lang="en-US"/>
        </a:p>
      </dgm:t>
    </dgm:pt>
    <dgm:pt modelId="{2F4BA0BE-A199-4458-BF57-95932665C955}" type="sibTrans" cxnId="{8DE5C0E1-4682-4FF6-8070-240C66D85CC1}">
      <dgm:prSet/>
      <dgm:spPr/>
      <dgm:t>
        <a:bodyPr/>
        <a:lstStyle/>
        <a:p>
          <a:endParaRPr lang="en-US"/>
        </a:p>
      </dgm:t>
    </dgm:pt>
    <dgm:pt modelId="{F02CD790-47A8-41C9-8D96-248B3365BC8F}">
      <dgm:prSet/>
      <dgm:spPr/>
      <dgm:t>
        <a:bodyPr/>
        <a:lstStyle/>
        <a:p>
          <a:r>
            <a:rPr lang="en-US" baseline="0" dirty="0"/>
            <a:t>Covers 64 MB worth of pages</a:t>
          </a:r>
          <a:endParaRPr lang="en-US" dirty="0"/>
        </a:p>
      </dgm:t>
    </dgm:pt>
    <dgm:pt modelId="{F3DCA3C6-3B97-4D5F-8EB9-C898ED60269C}" type="parTrans" cxnId="{07261DAA-00C9-40A2-8015-36D6DDBF1861}">
      <dgm:prSet/>
      <dgm:spPr/>
      <dgm:t>
        <a:bodyPr/>
        <a:lstStyle/>
        <a:p>
          <a:endParaRPr lang="en-US"/>
        </a:p>
      </dgm:t>
    </dgm:pt>
    <dgm:pt modelId="{C4708D95-2614-48C4-83E0-75DBA53CF2B7}" type="sibTrans" cxnId="{07261DAA-00C9-40A2-8015-36D6DDBF1861}">
      <dgm:prSet/>
      <dgm:spPr/>
      <dgm:t>
        <a:bodyPr/>
        <a:lstStyle/>
        <a:p>
          <a:endParaRPr lang="en-US"/>
        </a:p>
      </dgm:t>
    </dgm:pt>
    <dgm:pt modelId="{4DD25A31-B209-4671-8C64-156B8B96974D}">
      <dgm:prSet custT="1"/>
      <dgm:spPr/>
      <dgm:t>
        <a:bodyPr/>
        <a:lstStyle/>
        <a:p>
          <a:r>
            <a:rPr lang="en-US" sz="1800" baseline="0" dirty="0"/>
            <a:t>Global Allocation Map (GAM)</a:t>
          </a:r>
          <a:endParaRPr lang="en-US" sz="1800" dirty="0"/>
        </a:p>
      </dgm:t>
    </dgm:pt>
    <dgm:pt modelId="{6E2AE1B6-5E54-414D-BD85-9366B973A802}" type="parTrans" cxnId="{7ACA844D-6485-4E7E-A3C5-64F8BBB09378}">
      <dgm:prSet/>
      <dgm:spPr/>
      <dgm:t>
        <a:bodyPr/>
        <a:lstStyle/>
        <a:p>
          <a:endParaRPr lang="en-US"/>
        </a:p>
      </dgm:t>
    </dgm:pt>
    <dgm:pt modelId="{CF8820BE-AF48-4612-9B2D-7A4F8D819909}" type="sibTrans" cxnId="{7ACA844D-6485-4E7E-A3C5-64F8BBB09378}">
      <dgm:prSet/>
      <dgm:spPr/>
      <dgm:t>
        <a:bodyPr/>
        <a:lstStyle/>
        <a:p>
          <a:endParaRPr lang="en-US"/>
        </a:p>
      </dgm:t>
    </dgm:pt>
    <dgm:pt modelId="{0EC3B0F7-71C9-4B09-88A1-E41EEB4EA8E1}">
      <dgm:prSet/>
      <dgm:spPr/>
      <dgm:t>
        <a:bodyPr/>
        <a:lstStyle/>
        <a:p>
          <a:r>
            <a:rPr lang="en-US" baseline="0" dirty="0"/>
            <a:t>Tracks Uniform extents that have been allocated</a:t>
          </a:r>
          <a:br>
            <a:rPr lang="en-US" baseline="0" dirty="0"/>
          </a:br>
          <a:r>
            <a:rPr lang="en-US" baseline="0" dirty="0"/>
            <a:t>uses 1 Bit/extent</a:t>
          </a:r>
          <a:endParaRPr lang="en-US" dirty="0"/>
        </a:p>
      </dgm:t>
    </dgm:pt>
    <dgm:pt modelId="{6DB4C0AE-5C26-468A-8C18-591B85DB266F}" type="parTrans" cxnId="{3CCFAFB8-641B-4E46-86B2-926161CB3F00}">
      <dgm:prSet/>
      <dgm:spPr/>
      <dgm:t>
        <a:bodyPr/>
        <a:lstStyle/>
        <a:p>
          <a:endParaRPr lang="en-US"/>
        </a:p>
      </dgm:t>
    </dgm:pt>
    <dgm:pt modelId="{528D9AA5-8FC1-4E9D-87B0-23774CB89E5F}" type="sibTrans" cxnId="{3CCFAFB8-641B-4E46-86B2-926161CB3F00}">
      <dgm:prSet/>
      <dgm:spPr/>
      <dgm:t>
        <a:bodyPr/>
        <a:lstStyle/>
        <a:p>
          <a:endParaRPr lang="en-US"/>
        </a:p>
      </dgm:t>
    </dgm:pt>
    <dgm:pt modelId="{7B3466DB-7B4E-4F68-ADF9-8FD5F463B8C4}">
      <dgm:prSet/>
      <dgm:spPr/>
      <dgm:t>
        <a:bodyPr/>
        <a:lstStyle/>
        <a:p>
          <a:r>
            <a:rPr lang="en-US" baseline="0" dirty="0"/>
            <a:t>Covers 64,000 extents (4 GB worth of data)</a:t>
          </a:r>
          <a:endParaRPr lang="en-US" dirty="0"/>
        </a:p>
      </dgm:t>
    </dgm:pt>
    <dgm:pt modelId="{EF26FDF6-79C2-470F-BCC1-160BC2B7A150}" type="parTrans" cxnId="{5E7E890A-02C8-4475-8670-4D4F47E63F53}">
      <dgm:prSet/>
      <dgm:spPr/>
      <dgm:t>
        <a:bodyPr/>
        <a:lstStyle/>
        <a:p>
          <a:endParaRPr lang="en-US"/>
        </a:p>
      </dgm:t>
    </dgm:pt>
    <dgm:pt modelId="{307A13C2-0B5F-4BCD-8F73-77E458082746}" type="sibTrans" cxnId="{5E7E890A-02C8-4475-8670-4D4F47E63F53}">
      <dgm:prSet/>
      <dgm:spPr/>
      <dgm:t>
        <a:bodyPr/>
        <a:lstStyle/>
        <a:p>
          <a:endParaRPr lang="en-US"/>
        </a:p>
      </dgm:t>
    </dgm:pt>
    <dgm:pt modelId="{173E91BA-4B1F-4368-A8D8-D8EAE605760C}">
      <dgm:prSet custT="1"/>
      <dgm:spPr/>
      <dgm:t>
        <a:bodyPr/>
        <a:lstStyle/>
        <a:p>
          <a:r>
            <a:rPr lang="en-US" sz="1800" baseline="0" dirty="0"/>
            <a:t>Shared Global Allocation Map (SGAM)</a:t>
          </a:r>
          <a:endParaRPr lang="en-US" sz="1800" dirty="0"/>
        </a:p>
      </dgm:t>
    </dgm:pt>
    <dgm:pt modelId="{98C94F74-0EAE-48B3-9EE4-DB6FAA52C721}" type="parTrans" cxnId="{CEB1DA61-B7AA-4E15-9DFE-CA163CF31DBA}">
      <dgm:prSet/>
      <dgm:spPr/>
      <dgm:t>
        <a:bodyPr/>
        <a:lstStyle/>
        <a:p>
          <a:endParaRPr lang="en-US"/>
        </a:p>
      </dgm:t>
    </dgm:pt>
    <dgm:pt modelId="{6D5A1626-3362-4EB1-80F6-C0EDE9BC0EC8}" type="sibTrans" cxnId="{CEB1DA61-B7AA-4E15-9DFE-CA163CF31DBA}">
      <dgm:prSet/>
      <dgm:spPr/>
      <dgm:t>
        <a:bodyPr/>
        <a:lstStyle/>
        <a:p>
          <a:endParaRPr lang="en-US"/>
        </a:p>
      </dgm:t>
    </dgm:pt>
    <dgm:pt modelId="{A1575CC9-AE14-4410-B48F-41C89E23D6D2}">
      <dgm:prSet/>
      <dgm:spPr/>
      <dgm:t>
        <a:bodyPr/>
        <a:lstStyle/>
        <a:p>
          <a:r>
            <a:rPr lang="en-US" baseline="0" dirty="0"/>
            <a:t>Tracks Mixed extents that have all 8 pages allocated</a:t>
          </a:r>
          <a:br>
            <a:rPr lang="en-US" baseline="0" dirty="0"/>
          </a:br>
          <a:r>
            <a:rPr lang="en-US" baseline="0" dirty="0"/>
            <a:t>uses 1 Bit/extent</a:t>
          </a:r>
          <a:endParaRPr lang="en-US" dirty="0"/>
        </a:p>
      </dgm:t>
    </dgm:pt>
    <dgm:pt modelId="{EB4A0B4F-1987-4E0B-B8B1-8854E991832D}" type="parTrans" cxnId="{44B87886-7ED3-4EBD-AB6E-5CB705B818FC}">
      <dgm:prSet/>
      <dgm:spPr/>
      <dgm:t>
        <a:bodyPr/>
        <a:lstStyle/>
        <a:p>
          <a:endParaRPr lang="en-US"/>
        </a:p>
      </dgm:t>
    </dgm:pt>
    <dgm:pt modelId="{AD43642F-643B-4BA6-A187-E44FD999E990}" type="sibTrans" cxnId="{44B87886-7ED3-4EBD-AB6E-5CB705B818FC}">
      <dgm:prSet/>
      <dgm:spPr/>
      <dgm:t>
        <a:bodyPr/>
        <a:lstStyle/>
        <a:p>
          <a:endParaRPr lang="en-US"/>
        </a:p>
      </dgm:t>
    </dgm:pt>
    <dgm:pt modelId="{A4127F4F-F527-45B3-8609-B21D814D0051}">
      <dgm:prSet/>
      <dgm:spPr/>
      <dgm:t>
        <a:bodyPr/>
        <a:lstStyle/>
        <a:p>
          <a:r>
            <a:rPr lang="en-US" baseline="0" dirty="0"/>
            <a:t>Covers 64,000 extents (4 GB worth of data)</a:t>
          </a:r>
          <a:endParaRPr lang="en-US" dirty="0"/>
        </a:p>
      </dgm:t>
    </dgm:pt>
    <dgm:pt modelId="{3CC6D229-5DDC-4C59-9114-12440771D0B7}" type="parTrans" cxnId="{D20E1D56-9F1C-4433-9732-1CBC8927D5F3}">
      <dgm:prSet/>
      <dgm:spPr/>
      <dgm:t>
        <a:bodyPr/>
        <a:lstStyle/>
        <a:p>
          <a:endParaRPr lang="en-US"/>
        </a:p>
      </dgm:t>
    </dgm:pt>
    <dgm:pt modelId="{B003CDC2-FE9A-4E1B-8FCA-28DBDAA888F8}" type="sibTrans" cxnId="{D20E1D56-9F1C-4433-9732-1CBC8927D5F3}">
      <dgm:prSet/>
      <dgm:spPr/>
      <dgm:t>
        <a:bodyPr/>
        <a:lstStyle/>
        <a:p>
          <a:endParaRPr lang="en-US"/>
        </a:p>
      </dgm:t>
    </dgm:pt>
    <dgm:pt modelId="{ED3C308D-8798-4F2C-ADBD-36A347D93FF9}">
      <dgm:prSet custT="1"/>
      <dgm:spPr/>
      <dgm:t>
        <a:bodyPr/>
        <a:lstStyle/>
        <a:p>
          <a:r>
            <a:rPr lang="en-US" sz="1800" baseline="0" dirty="0"/>
            <a:t>Index Allocation Map (IAM)</a:t>
          </a:r>
          <a:endParaRPr lang="en-US" sz="1800" dirty="0"/>
        </a:p>
      </dgm:t>
    </dgm:pt>
    <dgm:pt modelId="{E040D640-364F-423D-8425-0C704C2063B5}" type="parTrans" cxnId="{64877185-F2EF-4FF9-953A-CC00EBFD8D2F}">
      <dgm:prSet/>
      <dgm:spPr/>
      <dgm:t>
        <a:bodyPr/>
        <a:lstStyle/>
        <a:p>
          <a:endParaRPr lang="en-US"/>
        </a:p>
      </dgm:t>
    </dgm:pt>
    <dgm:pt modelId="{BEC3A3CA-8E87-43E0-A18A-E52878015456}" type="sibTrans" cxnId="{64877185-F2EF-4FF9-953A-CC00EBFD8D2F}">
      <dgm:prSet/>
      <dgm:spPr/>
      <dgm:t>
        <a:bodyPr/>
        <a:lstStyle/>
        <a:p>
          <a:endParaRPr lang="en-US"/>
        </a:p>
      </dgm:t>
    </dgm:pt>
    <dgm:pt modelId="{35427682-A828-42A0-BDBB-2D4F3A0C2195}">
      <dgm:prSet/>
      <dgm:spPr/>
      <dgm:t>
        <a:bodyPr/>
        <a:lstStyle/>
        <a:p>
          <a:r>
            <a:rPr lang="en-US" baseline="0" dirty="0"/>
            <a:t>Tracks extents that are allocated to an allocation unit</a:t>
          </a:r>
          <a:endParaRPr lang="en-US" dirty="0"/>
        </a:p>
      </dgm:t>
    </dgm:pt>
    <dgm:pt modelId="{65DDE713-D37B-4482-AA80-BAF9BAB93404}" type="parTrans" cxnId="{9DA8AA68-1B01-495C-8946-238AA9B7D4F8}">
      <dgm:prSet/>
      <dgm:spPr/>
      <dgm:t>
        <a:bodyPr/>
        <a:lstStyle/>
        <a:p>
          <a:endParaRPr lang="en-US"/>
        </a:p>
      </dgm:t>
    </dgm:pt>
    <dgm:pt modelId="{3E6188B2-D532-4D3A-B3AF-CA5C6AA06AC3}" type="sibTrans" cxnId="{9DA8AA68-1B01-495C-8946-238AA9B7D4F8}">
      <dgm:prSet/>
      <dgm:spPr/>
      <dgm:t>
        <a:bodyPr/>
        <a:lstStyle/>
        <a:p>
          <a:endParaRPr lang="en-US"/>
        </a:p>
      </dgm:t>
    </dgm:pt>
    <dgm:pt modelId="{6CED49F6-113B-4353-B6E5-0AA58429E032}">
      <dgm:prSet/>
      <dgm:spPr/>
      <dgm:t>
        <a:bodyPr/>
        <a:lstStyle/>
        <a:p>
          <a:r>
            <a:rPr lang="en-US" baseline="0" dirty="0"/>
            <a:t>Covers 4 GB worth of data</a:t>
          </a:r>
          <a:endParaRPr lang="en-US" dirty="0"/>
        </a:p>
      </dgm:t>
    </dgm:pt>
    <dgm:pt modelId="{F9E2E512-9D47-4072-A6B7-369FF49324C8}" type="parTrans" cxnId="{5E20A0F2-8F96-4B7C-8580-A9EA573B9F2E}">
      <dgm:prSet/>
      <dgm:spPr/>
      <dgm:t>
        <a:bodyPr/>
        <a:lstStyle/>
        <a:p>
          <a:endParaRPr lang="en-US"/>
        </a:p>
      </dgm:t>
    </dgm:pt>
    <dgm:pt modelId="{CD6A4874-6F74-461D-B2F1-77D1E301C817}" type="sibTrans" cxnId="{5E20A0F2-8F96-4B7C-8580-A9EA573B9F2E}">
      <dgm:prSet/>
      <dgm:spPr/>
      <dgm:t>
        <a:bodyPr/>
        <a:lstStyle/>
        <a:p>
          <a:endParaRPr lang="en-US"/>
        </a:p>
      </dgm:t>
    </dgm:pt>
    <dgm:pt modelId="{096C94ED-E0C0-4CAF-9C96-652253E24257}">
      <dgm:prSet/>
      <dgm:spPr/>
      <dgm:t>
        <a:bodyPr/>
        <a:lstStyle/>
        <a:p>
          <a:r>
            <a:rPr lang="en-US" baseline="0" dirty="0"/>
            <a:t>One IAM chain per table, per index, per partition, per allocation unit type</a:t>
          </a:r>
          <a:endParaRPr lang="en-US" dirty="0"/>
        </a:p>
      </dgm:t>
    </dgm:pt>
    <dgm:pt modelId="{8D514285-37B2-4CD0-9D25-3E68FB63CE53}" type="parTrans" cxnId="{4F90C4D3-CF47-496B-86CF-FF1611B52AE2}">
      <dgm:prSet/>
      <dgm:spPr/>
      <dgm:t>
        <a:bodyPr/>
        <a:lstStyle/>
        <a:p>
          <a:endParaRPr lang="en-US"/>
        </a:p>
      </dgm:t>
    </dgm:pt>
    <dgm:pt modelId="{455956A8-42FA-42C3-A2DB-C1E2FE974FBD}" type="sibTrans" cxnId="{4F90C4D3-CF47-496B-86CF-FF1611B52AE2}">
      <dgm:prSet/>
      <dgm:spPr/>
      <dgm:t>
        <a:bodyPr/>
        <a:lstStyle/>
        <a:p>
          <a:endParaRPr lang="en-US"/>
        </a:p>
      </dgm:t>
    </dgm:pt>
    <dgm:pt modelId="{5ECBD16C-41D3-4ECA-AFA4-F8B7724F4B7F}" type="pres">
      <dgm:prSet presAssocID="{6C27B579-201C-453D-AD79-EE550645F001}" presName="Name0" presStyleCnt="0">
        <dgm:presLayoutVars>
          <dgm:dir/>
          <dgm:animLvl val="lvl"/>
          <dgm:resizeHandles val="exact"/>
        </dgm:presLayoutVars>
      </dgm:prSet>
      <dgm:spPr/>
    </dgm:pt>
    <dgm:pt modelId="{84CCD5CE-B0A3-459A-A81F-AC1A93D3E0CD}" type="pres">
      <dgm:prSet presAssocID="{494204D9-D84F-4879-AD13-AE7C35A4F483}" presName="composite" presStyleCnt="0"/>
      <dgm:spPr/>
    </dgm:pt>
    <dgm:pt modelId="{3AC990E7-EC36-47FB-AF8A-D4BF7B5CB066}" type="pres">
      <dgm:prSet presAssocID="{494204D9-D84F-4879-AD13-AE7C35A4F483}" presName="parTx" presStyleLbl="alignNode1" presStyleIdx="0" presStyleCnt="4">
        <dgm:presLayoutVars>
          <dgm:chMax val="0"/>
          <dgm:chPref val="0"/>
          <dgm:bulletEnabled val="1"/>
        </dgm:presLayoutVars>
      </dgm:prSet>
      <dgm:spPr/>
    </dgm:pt>
    <dgm:pt modelId="{E7C774AA-542E-48C3-A864-EEA7245BD745}" type="pres">
      <dgm:prSet presAssocID="{494204D9-D84F-4879-AD13-AE7C35A4F483}" presName="desTx" presStyleLbl="alignAccFollowNode1" presStyleIdx="0" presStyleCnt="4">
        <dgm:presLayoutVars>
          <dgm:bulletEnabled val="1"/>
        </dgm:presLayoutVars>
      </dgm:prSet>
      <dgm:spPr/>
    </dgm:pt>
    <dgm:pt modelId="{AE04A8A7-1A08-42EB-BBF6-63788E9E3FB5}" type="pres">
      <dgm:prSet presAssocID="{B9B56087-FA8F-4471-AF9E-BDCDA76E229D}" presName="space" presStyleCnt="0"/>
      <dgm:spPr/>
    </dgm:pt>
    <dgm:pt modelId="{233D5A24-957B-4CD4-B2D0-1FBB426CE76C}" type="pres">
      <dgm:prSet presAssocID="{4DD25A31-B209-4671-8C64-156B8B96974D}" presName="composite" presStyleCnt="0"/>
      <dgm:spPr/>
    </dgm:pt>
    <dgm:pt modelId="{9FA250F5-EE59-4D85-8E94-4338AF834BF2}" type="pres">
      <dgm:prSet presAssocID="{4DD25A31-B209-4671-8C64-156B8B96974D}" presName="parTx" presStyleLbl="alignNode1" presStyleIdx="1" presStyleCnt="4">
        <dgm:presLayoutVars>
          <dgm:chMax val="0"/>
          <dgm:chPref val="0"/>
          <dgm:bulletEnabled val="1"/>
        </dgm:presLayoutVars>
      </dgm:prSet>
      <dgm:spPr/>
    </dgm:pt>
    <dgm:pt modelId="{AD3AE9D9-53BB-496E-A3E4-EF036CF514D2}" type="pres">
      <dgm:prSet presAssocID="{4DD25A31-B209-4671-8C64-156B8B96974D}" presName="desTx" presStyleLbl="alignAccFollowNode1" presStyleIdx="1" presStyleCnt="4">
        <dgm:presLayoutVars>
          <dgm:bulletEnabled val="1"/>
        </dgm:presLayoutVars>
      </dgm:prSet>
      <dgm:spPr/>
    </dgm:pt>
    <dgm:pt modelId="{DA898E7E-D522-4D07-98B4-5689DF650A1C}" type="pres">
      <dgm:prSet presAssocID="{CF8820BE-AF48-4612-9B2D-7A4F8D819909}" presName="space" presStyleCnt="0"/>
      <dgm:spPr/>
    </dgm:pt>
    <dgm:pt modelId="{69E8B990-1A97-430F-8646-CF590F907EF8}" type="pres">
      <dgm:prSet presAssocID="{173E91BA-4B1F-4368-A8D8-D8EAE605760C}" presName="composite" presStyleCnt="0"/>
      <dgm:spPr/>
    </dgm:pt>
    <dgm:pt modelId="{580B96B5-8BC4-454D-B4D6-22D2C7BBC512}" type="pres">
      <dgm:prSet presAssocID="{173E91BA-4B1F-4368-A8D8-D8EAE605760C}" presName="parTx" presStyleLbl="alignNode1" presStyleIdx="2" presStyleCnt="4">
        <dgm:presLayoutVars>
          <dgm:chMax val="0"/>
          <dgm:chPref val="0"/>
          <dgm:bulletEnabled val="1"/>
        </dgm:presLayoutVars>
      </dgm:prSet>
      <dgm:spPr/>
    </dgm:pt>
    <dgm:pt modelId="{403F8695-450D-4790-878E-6F6D6F842041}" type="pres">
      <dgm:prSet presAssocID="{173E91BA-4B1F-4368-A8D8-D8EAE605760C}" presName="desTx" presStyleLbl="alignAccFollowNode1" presStyleIdx="2" presStyleCnt="4">
        <dgm:presLayoutVars>
          <dgm:bulletEnabled val="1"/>
        </dgm:presLayoutVars>
      </dgm:prSet>
      <dgm:spPr/>
    </dgm:pt>
    <dgm:pt modelId="{C553B6CB-50F9-4B1C-94AB-F4B2395E7F9E}" type="pres">
      <dgm:prSet presAssocID="{6D5A1626-3362-4EB1-80F6-C0EDE9BC0EC8}" presName="space" presStyleCnt="0"/>
      <dgm:spPr/>
    </dgm:pt>
    <dgm:pt modelId="{6F232813-E236-4386-823B-19ABDBC6427B}" type="pres">
      <dgm:prSet presAssocID="{ED3C308D-8798-4F2C-ADBD-36A347D93FF9}" presName="composite" presStyleCnt="0"/>
      <dgm:spPr/>
    </dgm:pt>
    <dgm:pt modelId="{7D0E2B34-C1FF-4757-9556-4EBE8E8751BA}" type="pres">
      <dgm:prSet presAssocID="{ED3C308D-8798-4F2C-ADBD-36A347D93FF9}" presName="parTx" presStyleLbl="alignNode1" presStyleIdx="3" presStyleCnt="4">
        <dgm:presLayoutVars>
          <dgm:chMax val="0"/>
          <dgm:chPref val="0"/>
          <dgm:bulletEnabled val="1"/>
        </dgm:presLayoutVars>
      </dgm:prSet>
      <dgm:spPr/>
    </dgm:pt>
    <dgm:pt modelId="{7849064C-C948-4E3B-AB3A-3790921E0E33}" type="pres">
      <dgm:prSet presAssocID="{ED3C308D-8798-4F2C-ADBD-36A347D93FF9}" presName="desTx" presStyleLbl="alignAccFollowNode1" presStyleIdx="3" presStyleCnt="4">
        <dgm:presLayoutVars>
          <dgm:bulletEnabled val="1"/>
        </dgm:presLayoutVars>
      </dgm:prSet>
      <dgm:spPr/>
    </dgm:pt>
  </dgm:ptLst>
  <dgm:cxnLst>
    <dgm:cxn modelId="{5E7E890A-02C8-4475-8670-4D4F47E63F53}" srcId="{4DD25A31-B209-4671-8C64-156B8B96974D}" destId="{7B3466DB-7B4E-4F68-ADF9-8FD5F463B8C4}" srcOrd="1" destOrd="0" parTransId="{EF26FDF6-79C2-470F-BCC1-160BC2B7A150}" sibTransId="{307A13C2-0B5F-4BCD-8F73-77E458082746}"/>
    <dgm:cxn modelId="{B16C060C-347A-40B7-8680-77808A9DB2F3}" type="presOf" srcId="{494204D9-D84F-4879-AD13-AE7C35A4F483}" destId="{3AC990E7-EC36-47FB-AF8A-D4BF7B5CB066}" srcOrd="0" destOrd="0" presId="urn:microsoft.com/office/officeart/2005/8/layout/hList1"/>
    <dgm:cxn modelId="{4C65D323-50E1-4FB5-93C7-03516B4ED109}" type="presOf" srcId="{ED3C308D-8798-4F2C-ADBD-36A347D93FF9}" destId="{7D0E2B34-C1FF-4757-9556-4EBE8E8751BA}" srcOrd="0" destOrd="0" presId="urn:microsoft.com/office/officeart/2005/8/layout/hList1"/>
    <dgm:cxn modelId="{C5BEFD29-810C-4E78-88CC-CFDC6555F13B}" type="presOf" srcId="{A1575CC9-AE14-4410-B48F-41C89E23D6D2}" destId="{403F8695-450D-4790-878E-6F6D6F842041}" srcOrd="0" destOrd="0" presId="urn:microsoft.com/office/officeart/2005/8/layout/hList1"/>
    <dgm:cxn modelId="{DA11C23B-97A9-4211-8930-565C7E4720E0}" type="presOf" srcId="{6C27B579-201C-453D-AD79-EE550645F001}" destId="{5ECBD16C-41D3-4ECA-AFA4-F8B7724F4B7F}" srcOrd="0" destOrd="0" presId="urn:microsoft.com/office/officeart/2005/8/layout/hList1"/>
    <dgm:cxn modelId="{B0A6883F-2BB9-41B3-9268-43DABA53F034}" type="presOf" srcId="{F02CD790-47A8-41C9-8D96-248B3365BC8F}" destId="{E7C774AA-542E-48C3-A864-EEA7245BD745}" srcOrd="0" destOrd="1" presId="urn:microsoft.com/office/officeart/2005/8/layout/hList1"/>
    <dgm:cxn modelId="{34BF825E-BD08-495A-9864-BE76E86A71B7}" type="presOf" srcId="{173E91BA-4B1F-4368-A8D8-D8EAE605760C}" destId="{580B96B5-8BC4-454D-B4D6-22D2C7BBC512}" srcOrd="0" destOrd="0" presId="urn:microsoft.com/office/officeart/2005/8/layout/hList1"/>
    <dgm:cxn modelId="{CEB1DA61-B7AA-4E15-9DFE-CA163CF31DBA}" srcId="{6C27B579-201C-453D-AD79-EE550645F001}" destId="{173E91BA-4B1F-4368-A8D8-D8EAE605760C}" srcOrd="2" destOrd="0" parTransId="{98C94F74-0EAE-48B3-9EE4-DB6FAA52C721}" sibTransId="{6D5A1626-3362-4EB1-80F6-C0EDE9BC0EC8}"/>
    <dgm:cxn modelId="{9DA8AA68-1B01-495C-8946-238AA9B7D4F8}" srcId="{ED3C308D-8798-4F2C-ADBD-36A347D93FF9}" destId="{35427682-A828-42A0-BDBB-2D4F3A0C2195}" srcOrd="0" destOrd="0" parTransId="{65DDE713-D37B-4482-AA80-BAF9BAB93404}" sibTransId="{3E6188B2-D532-4D3A-B3AF-CA5C6AA06AC3}"/>
    <dgm:cxn modelId="{7ACA844D-6485-4E7E-A3C5-64F8BBB09378}" srcId="{6C27B579-201C-453D-AD79-EE550645F001}" destId="{4DD25A31-B209-4671-8C64-156B8B96974D}" srcOrd="1" destOrd="0" parTransId="{6E2AE1B6-5E54-414D-BD85-9366B973A802}" sibTransId="{CF8820BE-AF48-4612-9B2D-7A4F8D819909}"/>
    <dgm:cxn modelId="{1048C473-C2E3-4C98-8F1D-32245469A2DD}" type="presOf" srcId="{EBE58DEA-5DAB-4106-9B99-DD165D918FEC}" destId="{E7C774AA-542E-48C3-A864-EEA7245BD745}" srcOrd="0" destOrd="0" presId="urn:microsoft.com/office/officeart/2005/8/layout/hList1"/>
    <dgm:cxn modelId="{D20E1D56-9F1C-4433-9732-1CBC8927D5F3}" srcId="{173E91BA-4B1F-4368-A8D8-D8EAE605760C}" destId="{A4127F4F-F527-45B3-8609-B21D814D0051}" srcOrd="1" destOrd="0" parTransId="{3CC6D229-5DDC-4C59-9114-12440771D0B7}" sibTransId="{B003CDC2-FE9A-4E1B-8FCA-28DBDAA888F8}"/>
    <dgm:cxn modelId="{385A0481-3D2B-4860-B699-40C25CC2F831}" srcId="{6C27B579-201C-453D-AD79-EE550645F001}" destId="{494204D9-D84F-4879-AD13-AE7C35A4F483}" srcOrd="0" destOrd="0" parTransId="{11198DCD-E631-4B79-870C-78DB06D25631}" sibTransId="{B9B56087-FA8F-4471-AF9E-BDCDA76E229D}"/>
    <dgm:cxn modelId="{64877185-F2EF-4FF9-953A-CC00EBFD8D2F}" srcId="{6C27B579-201C-453D-AD79-EE550645F001}" destId="{ED3C308D-8798-4F2C-ADBD-36A347D93FF9}" srcOrd="3" destOrd="0" parTransId="{E040D640-364F-423D-8425-0C704C2063B5}" sibTransId="{BEC3A3CA-8E87-43E0-A18A-E52878015456}"/>
    <dgm:cxn modelId="{44B87886-7ED3-4EBD-AB6E-5CB705B818FC}" srcId="{173E91BA-4B1F-4368-A8D8-D8EAE605760C}" destId="{A1575CC9-AE14-4410-B48F-41C89E23D6D2}" srcOrd="0" destOrd="0" parTransId="{EB4A0B4F-1987-4E0B-B8B1-8854E991832D}" sibTransId="{AD43642F-643B-4BA6-A187-E44FD999E990}"/>
    <dgm:cxn modelId="{848AC98B-9D8F-4EFD-AFFC-5C13802FF66C}" type="presOf" srcId="{6CED49F6-113B-4353-B6E5-0AA58429E032}" destId="{7849064C-C948-4E3B-AB3A-3790921E0E33}" srcOrd="0" destOrd="1" presId="urn:microsoft.com/office/officeart/2005/8/layout/hList1"/>
    <dgm:cxn modelId="{1DC9CA98-DADB-4D5B-AB30-83FD7912857A}" type="presOf" srcId="{0EC3B0F7-71C9-4B09-88A1-E41EEB4EA8E1}" destId="{AD3AE9D9-53BB-496E-A3E4-EF036CF514D2}" srcOrd="0" destOrd="0" presId="urn:microsoft.com/office/officeart/2005/8/layout/hList1"/>
    <dgm:cxn modelId="{07261DAA-00C9-40A2-8015-36D6DDBF1861}" srcId="{494204D9-D84F-4879-AD13-AE7C35A4F483}" destId="{F02CD790-47A8-41C9-8D96-248B3365BC8F}" srcOrd="1" destOrd="0" parTransId="{F3DCA3C6-3B97-4D5F-8EB9-C898ED60269C}" sibTransId="{C4708D95-2614-48C4-83E0-75DBA53CF2B7}"/>
    <dgm:cxn modelId="{3868ADB5-6886-424F-B7F2-FEF7D65A5F72}" type="presOf" srcId="{096C94ED-E0C0-4CAF-9C96-652253E24257}" destId="{7849064C-C948-4E3B-AB3A-3790921E0E33}" srcOrd="0" destOrd="2" presId="urn:microsoft.com/office/officeart/2005/8/layout/hList1"/>
    <dgm:cxn modelId="{3CCFAFB8-641B-4E46-86B2-926161CB3F00}" srcId="{4DD25A31-B209-4671-8C64-156B8B96974D}" destId="{0EC3B0F7-71C9-4B09-88A1-E41EEB4EA8E1}" srcOrd="0" destOrd="0" parTransId="{6DB4C0AE-5C26-468A-8C18-591B85DB266F}" sibTransId="{528D9AA5-8FC1-4E9D-87B0-23774CB89E5F}"/>
    <dgm:cxn modelId="{7E117ED0-C324-4BCB-B7C6-9FFF7501F61D}" type="presOf" srcId="{4DD25A31-B209-4671-8C64-156B8B96974D}" destId="{9FA250F5-EE59-4D85-8E94-4338AF834BF2}" srcOrd="0" destOrd="0" presId="urn:microsoft.com/office/officeart/2005/8/layout/hList1"/>
    <dgm:cxn modelId="{4F90C4D3-CF47-496B-86CF-FF1611B52AE2}" srcId="{ED3C308D-8798-4F2C-ADBD-36A347D93FF9}" destId="{096C94ED-E0C0-4CAF-9C96-652253E24257}" srcOrd="2" destOrd="0" parTransId="{8D514285-37B2-4CD0-9D25-3E68FB63CE53}" sibTransId="{455956A8-42FA-42C3-A2DB-C1E2FE974FBD}"/>
    <dgm:cxn modelId="{24A53CD6-B3D6-4504-94B9-64765DBF3665}" type="presOf" srcId="{A4127F4F-F527-45B3-8609-B21D814D0051}" destId="{403F8695-450D-4790-878E-6F6D6F842041}" srcOrd="0" destOrd="1" presId="urn:microsoft.com/office/officeart/2005/8/layout/hList1"/>
    <dgm:cxn modelId="{FF885EE1-F708-4C6C-9E6E-1DC2BBBB8B5A}" type="presOf" srcId="{7B3466DB-7B4E-4F68-ADF9-8FD5F463B8C4}" destId="{AD3AE9D9-53BB-496E-A3E4-EF036CF514D2}" srcOrd="0" destOrd="1" presId="urn:microsoft.com/office/officeart/2005/8/layout/hList1"/>
    <dgm:cxn modelId="{8DE5C0E1-4682-4FF6-8070-240C66D85CC1}" srcId="{494204D9-D84F-4879-AD13-AE7C35A4F483}" destId="{EBE58DEA-5DAB-4106-9B99-DD165D918FEC}" srcOrd="0" destOrd="0" parTransId="{1ADE4576-AFCF-486B-A35E-6753E221CC49}" sibTransId="{2F4BA0BE-A199-4458-BF57-95932665C955}"/>
    <dgm:cxn modelId="{5E20A0F2-8F96-4B7C-8580-A9EA573B9F2E}" srcId="{ED3C308D-8798-4F2C-ADBD-36A347D93FF9}" destId="{6CED49F6-113B-4353-B6E5-0AA58429E032}" srcOrd="1" destOrd="0" parTransId="{F9E2E512-9D47-4072-A6B7-369FF49324C8}" sibTransId="{CD6A4874-6F74-461D-B2F1-77D1E301C817}"/>
    <dgm:cxn modelId="{5A387DFA-C482-4A4C-BBFB-FD87C4859629}" type="presOf" srcId="{35427682-A828-42A0-BDBB-2D4F3A0C2195}" destId="{7849064C-C948-4E3B-AB3A-3790921E0E33}" srcOrd="0" destOrd="0" presId="urn:microsoft.com/office/officeart/2005/8/layout/hList1"/>
    <dgm:cxn modelId="{66017E5D-A041-4D77-8DC0-F41AD9C4E563}" type="presParOf" srcId="{5ECBD16C-41D3-4ECA-AFA4-F8B7724F4B7F}" destId="{84CCD5CE-B0A3-459A-A81F-AC1A93D3E0CD}" srcOrd="0" destOrd="0" presId="urn:microsoft.com/office/officeart/2005/8/layout/hList1"/>
    <dgm:cxn modelId="{F6612A73-C6BB-483F-94E9-763211F6866A}" type="presParOf" srcId="{84CCD5CE-B0A3-459A-A81F-AC1A93D3E0CD}" destId="{3AC990E7-EC36-47FB-AF8A-D4BF7B5CB066}" srcOrd="0" destOrd="0" presId="urn:microsoft.com/office/officeart/2005/8/layout/hList1"/>
    <dgm:cxn modelId="{68BD4881-C90A-4003-A099-14D8D50E9967}" type="presParOf" srcId="{84CCD5CE-B0A3-459A-A81F-AC1A93D3E0CD}" destId="{E7C774AA-542E-48C3-A864-EEA7245BD745}" srcOrd="1" destOrd="0" presId="urn:microsoft.com/office/officeart/2005/8/layout/hList1"/>
    <dgm:cxn modelId="{BA323D1C-2854-4826-A6F9-5006C393D79B}" type="presParOf" srcId="{5ECBD16C-41D3-4ECA-AFA4-F8B7724F4B7F}" destId="{AE04A8A7-1A08-42EB-BBF6-63788E9E3FB5}" srcOrd="1" destOrd="0" presId="urn:microsoft.com/office/officeart/2005/8/layout/hList1"/>
    <dgm:cxn modelId="{9B822A31-1542-401E-8520-CA9B55AC7AD6}" type="presParOf" srcId="{5ECBD16C-41D3-4ECA-AFA4-F8B7724F4B7F}" destId="{233D5A24-957B-4CD4-B2D0-1FBB426CE76C}" srcOrd="2" destOrd="0" presId="urn:microsoft.com/office/officeart/2005/8/layout/hList1"/>
    <dgm:cxn modelId="{45E503D6-EE1B-468B-A096-68D60F310F1B}" type="presParOf" srcId="{233D5A24-957B-4CD4-B2D0-1FBB426CE76C}" destId="{9FA250F5-EE59-4D85-8E94-4338AF834BF2}" srcOrd="0" destOrd="0" presId="urn:microsoft.com/office/officeart/2005/8/layout/hList1"/>
    <dgm:cxn modelId="{0290EB9F-7D87-49A1-A3D0-F9A2B11B3EC2}" type="presParOf" srcId="{233D5A24-957B-4CD4-B2D0-1FBB426CE76C}" destId="{AD3AE9D9-53BB-496E-A3E4-EF036CF514D2}" srcOrd="1" destOrd="0" presId="urn:microsoft.com/office/officeart/2005/8/layout/hList1"/>
    <dgm:cxn modelId="{24C5B404-D1AC-4825-8818-9EED2C4BAB7B}" type="presParOf" srcId="{5ECBD16C-41D3-4ECA-AFA4-F8B7724F4B7F}" destId="{DA898E7E-D522-4D07-98B4-5689DF650A1C}" srcOrd="3" destOrd="0" presId="urn:microsoft.com/office/officeart/2005/8/layout/hList1"/>
    <dgm:cxn modelId="{5F6367B9-F45B-489A-A76C-5EF0E50D3D1B}" type="presParOf" srcId="{5ECBD16C-41D3-4ECA-AFA4-F8B7724F4B7F}" destId="{69E8B990-1A97-430F-8646-CF590F907EF8}" srcOrd="4" destOrd="0" presId="urn:microsoft.com/office/officeart/2005/8/layout/hList1"/>
    <dgm:cxn modelId="{937257A5-5B4A-4729-9C60-6AB0175D400A}" type="presParOf" srcId="{69E8B990-1A97-430F-8646-CF590F907EF8}" destId="{580B96B5-8BC4-454D-B4D6-22D2C7BBC512}" srcOrd="0" destOrd="0" presId="urn:microsoft.com/office/officeart/2005/8/layout/hList1"/>
    <dgm:cxn modelId="{78A97D21-9B06-43EC-9B8F-EA11DBC09EB2}" type="presParOf" srcId="{69E8B990-1A97-430F-8646-CF590F907EF8}" destId="{403F8695-450D-4790-878E-6F6D6F842041}" srcOrd="1" destOrd="0" presId="urn:microsoft.com/office/officeart/2005/8/layout/hList1"/>
    <dgm:cxn modelId="{2D03EB25-E7F9-4BE0-BB5F-CA18D5388F27}" type="presParOf" srcId="{5ECBD16C-41D3-4ECA-AFA4-F8B7724F4B7F}" destId="{C553B6CB-50F9-4B1C-94AB-F4B2395E7F9E}" srcOrd="5" destOrd="0" presId="urn:microsoft.com/office/officeart/2005/8/layout/hList1"/>
    <dgm:cxn modelId="{5B6374A5-D49A-4D90-B19D-EA5742FEAC61}" type="presParOf" srcId="{5ECBD16C-41D3-4ECA-AFA4-F8B7724F4B7F}" destId="{6F232813-E236-4386-823B-19ABDBC6427B}" srcOrd="6" destOrd="0" presId="urn:microsoft.com/office/officeart/2005/8/layout/hList1"/>
    <dgm:cxn modelId="{A4241D1F-214B-4091-8940-6B19F84D9433}" type="presParOf" srcId="{6F232813-E236-4386-823B-19ABDBC6427B}" destId="{7D0E2B34-C1FF-4757-9556-4EBE8E8751BA}" srcOrd="0" destOrd="0" presId="urn:microsoft.com/office/officeart/2005/8/layout/hList1"/>
    <dgm:cxn modelId="{1BA807BB-F9B5-43A1-BF95-AF33EC75C9D6}" type="presParOf" srcId="{6F232813-E236-4386-823B-19ABDBC6427B}" destId="{7849064C-C948-4E3B-AB3A-3790921E0E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D02CA96-1536-4206-B387-E64B77A9B94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7C196C1-479D-493A-86F7-906E346B0E64}">
      <dgm:prSet custT="1"/>
      <dgm:spPr/>
      <dgm:t>
        <a:bodyPr/>
        <a:lstStyle/>
        <a:p>
          <a:r>
            <a:rPr lang="en-US" sz="2400" dirty="0"/>
            <a:t>Starting with SQL Server 2016 (13.x)</a:t>
          </a:r>
        </a:p>
      </dgm:t>
    </dgm:pt>
    <dgm:pt modelId="{31E724A6-EEF5-4B01-AF00-D43049EDFFF5}" type="parTrans" cxnId="{E7475E76-A6BF-4FF7-9D5E-4B393E09A66E}">
      <dgm:prSet/>
      <dgm:spPr/>
      <dgm:t>
        <a:bodyPr/>
        <a:lstStyle/>
        <a:p>
          <a:endParaRPr lang="en-US"/>
        </a:p>
      </dgm:t>
    </dgm:pt>
    <dgm:pt modelId="{7B38B9B2-8EA9-480F-8028-9AF917BB834F}" type="sibTrans" cxnId="{E7475E76-A6BF-4FF7-9D5E-4B393E09A66E}">
      <dgm:prSet/>
      <dgm:spPr/>
      <dgm:t>
        <a:bodyPr/>
        <a:lstStyle/>
        <a:p>
          <a:endParaRPr lang="en-US"/>
        </a:p>
      </dgm:t>
    </dgm:pt>
    <dgm:pt modelId="{D50B1C1D-23F0-4D8E-A49D-C685AB8355E6}">
      <dgm:prSet custT="1"/>
      <dgm:spPr/>
      <dgm:t>
        <a:bodyPr/>
        <a:lstStyle/>
        <a:p>
          <a:r>
            <a:rPr lang="en-US" sz="2400" dirty="0"/>
            <a:t>Default data page allocation is Uniform extents</a:t>
          </a:r>
        </a:p>
      </dgm:t>
    </dgm:pt>
    <dgm:pt modelId="{154DDF9A-2346-4598-A6B0-4B679273AA11}" type="parTrans" cxnId="{DB15CBC5-DDD0-4038-A3AF-D978A594E0A7}">
      <dgm:prSet/>
      <dgm:spPr/>
      <dgm:t>
        <a:bodyPr/>
        <a:lstStyle/>
        <a:p>
          <a:endParaRPr lang="en-US"/>
        </a:p>
      </dgm:t>
    </dgm:pt>
    <dgm:pt modelId="{63A512F0-9E7D-44B6-9CEE-0951D7A11727}" type="sibTrans" cxnId="{DB15CBC5-DDD0-4038-A3AF-D978A594E0A7}">
      <dgm:prSet/>
      <dgm:spPr/>
      <dgm:t>
        <a:bodyPr/>
        <a:lstStyle/>
        <a:p>
          <a:endParaRPr lang="en-US"/>
        </a:p>
      </dgm:t>
    </dgm:pt>
    <dgm:pt modelId="{E31C9269-574D-40DC-8597-EF836EA6138D}">
      <dgm:prSet custT="1"/>
      <dgm:spPr/>
      <dgm:t>
        <a:bodyPr/>
        <a:lstStyle/>
        <a:p>
          <a:r>
            <a:rPr lang="en-US" sz="2400" dirty="0"/>
            <a:t>Up to, and including, SQL Server 2014 (12.x)</a:t>
          </a:r>
        </a:p>
      </dgm:t>
    </dgm:pt>
    <dgm:pt modelId="{A531E8D6-CE11-40FF-9F60-13B47E301E86}" type="parTrans" cxnId="{CEA5AAFB-4AAA-4287-8D03-483D8A7D9C13}">
      <dgm:prSet/>
      <dgm:spPr/>
      <dgm:t>
        <a:bodyPr/>
        <a:lstStyle/>
        <a:p>
          <a:endParaRPr lang="en-US"/>
        </a:p>
      </dgm:t>
    </dgm:pt>
    <dgm:pt modelId="{27F9A033-BC0D-423A-835B-F4FDA9E8F73C}" type="sibTrans" cxnId="{CEA5AAFB-4AAA-4287-8D03-483D8A7D9C13}">
      <dgm:prSet/>
      <dgm:spPr/>
      <dgm:t>
        <a:bodyPr/>
        <a:lstStyle/>
        <a:p>
          <a:endParaRPr lang="en-US"/>
        </a:p>
      </dgm:t>
    </dgm:pt>
    <dgm:pt modelId="{83729096-D717-4A11-9F09-E3A127CAA486}">
      <dgm:prSet custT="1"/>
      <dgm:spPr/>
      <dgm:t>
        <a:bodyPr/>
        <a:lstStyle/>
        <a:p>
          <a:r>
            <a:rPr lang="en-US" sz="2400" dirty="0"/>
            <a:t>On object creation two pages from a mixed extents are allocated</a:t>
          </a:r>
        </a:p>
      </dgm:t>
    </dgm:pt>
    <dgm:pt modelId="{F36E1F41-9EBC-4505-8904-7271970DF5A8}" type="parTrans" cxnId="{511D38C5-E7AC-4A59-B4F2-5C682660D9E8}">
      <dgm:prSet/>
      <dgm:spPr/>
      <dgm:t>
        <a:bodyPr/>
        <a:lstStyle/>
        <a:p>
          <a:endParaRPr lang="en-US"/>
        </a:p>
      </dgm:t>
    </dgm:pt>
    <dgm:pt modelId="{D8CFC30E-B037-4636-B740-597D850A0147}" type="sibTrans" cxnId="{511D38C5-E7AC-4A59-B4F2-5C682660D9E8}">
      <dgm:prSet/>
      <dgm:spPr/>
      <dgm:t>
        <a:bodyPr/>
        <a:lstStyle/>
        <a:p>
          <a:endParaRPr lang="en-US"/>
        </a:p>
      </dgm:t>
    </dgm:pt>
    <dgm:pt modelId="{90DD7FB7-59C3-4F67-95FB-1AC806B65FC7}">
      <dgm:prSet custT="1"/>
      <dgm:spPr/>
      <dgm:t>
        <a:bodyPr/>
        <a:lstStyle/>
        <a:p>
          <a:r>
            <a:rPr lang="en-US" sz="2400" dirty="0"/>
            <a:t>After 8 data pages,  new allocation comes from Uniform Extent</a:t>
          </a:r>
        </a:p>
      </dgm:t>
    </dgm:pt>
    <dgm:pt modelId="{5BE8EC6B-1058-45E7-81EA-D41E277C689F}" type="parTrans" cxnId="{002CD1C4-EB31-4F29-A506-078275CA38D2}">
      <dgm:prSet/>
      <dgm:spPr/>
      <dgm:t>
        <a:bodyPr/>
        <a:lstStyle/>
        <a:p>
          <a:endParaRPr lang="en-US"/>
        </a:p>
      </dgm:t>
    </dgm:pt>
    <dgm:pt modelId="{20A75602-F5CF-459F-8329-989DC4184F14}" type="sibTrans" cxnId="{002CD1C4-EB31-4F29-A506-078275CA38D2}">
      <dgm:prSet/>
      <dgm:spPr/>
      <dgm:t>
        <a:bodyPr/>
        <a:lstStyle/>
        <a:p>
          <a:endParaRPr lang="en-US"/>
        </a:p>
      </dgm:t>
    </dgm:pt>
    <dgm:pt modelId="{1085A223-9EC0-4455-B54F-22776F734200}">
      <dgm:prSet custT="1"/>
      <dgm:spPr/>
      <dgm:t>
        <a:bodyPr/>
        <a:lstStyle/>
        <a:p>
          <a:r>
            <a:rPr lang="en-US" sz="2400" dirty="0"/>
            <a:t>Decreases contention on SGAM objects</a:t>
          </a:r>
        </a:p>
      </dgm:t>
    </dgm:pt>
    <dgm:pt modelId="{796A3D7C-EEBB-484B-B9D8-9327C51533FA}" type="parTrans" cxnId="{F338E7D5-C588-4A49-9A8D-F071A054CF19}">
      <dgm:prSet/>
      <dgm:spPr/>
      <dgm:t>
        <a:bodyPr/>
        <a:lstStyle/>
        <a:p>
          <a:endParaRPr lang="en-US"/>
        </a:p>
      </dgm:t>
    </dgm:pt>
    <dgm:pt modelId="{31536E7F-F84F-42ED-A808-9C6E292248E1}" type="sibTrans" cxnId="{F338E7D5-C588-4A49-9A8D-F071A054CF19}">
      <dgm:prSet/>
      <dgm:spPr/>
      <dgm:t>
        <a:bodyPr/>
        <a:lstStyle/>
        <a:p>
          <a:endParaRPr lang="en-US"/>
        </a:p>
      </dgm:t>
    </dgm:pt>
    <dgm:pt modelId="{08B70DAC-320A-4DFB-AE24-D56786139EBC}" type="pres">
      <dgm:prSet presAssocID="{6D02CA96-1536-4206-B387-E64B77A9B944}" presName="linear" presStyleCnt="0">
        <dgm:presLayoutVars>
          <dgm:dir/>
          <dgm:animLvl val="lvl"/>
          <dgm:resizeHandles val="exact"/>
        </dgm:presLayoutVars>
      </dgm:prSet>
      <dgm:spPr/>
    </dgm:pt>
    <dgm:pt modelId="{C3F0E0A0-DB67-4CF5-8BB0-ABC4A68F0A4A}" type="pres">
      <dgm:prSet presAssocID="{E31C9269-574D-40DC-8597-EF836EA6138D}" presName="parentLin" presStyleCnt="0"/>
      <dgm:spPr/>
    </dgm:pt>
    <dgm:pt modelId="{A5F0B516-A2F6-4CE4-BEBA-89B39652612B}" type="pres">
      <dgm:prSet presAssocID="{E31C9269-574D-40DC-8597-EF836EA6138D}" presName="parentLeftMargin" presStyleLbl="node1" presStyleIdx="0" presStyleCnt="2"/>
      <dgm:spPr/>
    </dgm:pt>
    <dgm:pt modelId="{3AD40822-D0F7-405C-A43B-CE4D829B28CD}" type="pres">
      <dgm:prSet presAssocID="{E31C9269-574D-40DC-8597-EF836EA6138D}" presName="parentText" presStyleLbl="node1" presStyleIdx="0" presStyleCnt="2">
        <dgm:presLayoutVars>
          <dgm:chMax val="0"/>
          <dgm:bulletEnabled val="1"/>
        </dgm:presLayoutVars>
      </dgm:prSet>
      <dgm:spPr/>
    </dgm:pt>
    <dgm:pt modelId="{184D5C77-A416-4CC0-8ADD-9843A53F3EE7}" type="pres">
      <dgm:prSet presAssocID="{E31C9269-574D-40DC-8597-EF836EA6138D}" presName="negativeSpace" presStyleCnt="0"/>
      <dgm:spPr/>
    </dgm:pt>
    <dgm:pt modelId="{DE49C234-723A-4BDE-AC95-03F9FB295F41}" type="pres">
      <dgm:prSet presAssocID="{E31C9269-574D-40DC-8597-EF836EA6138D}" presName="childText" presStyleLbl="conFgAcc1" presStyleIdx="0" presStyleCnt="2">
        <dgm:presLayoutVars>
          <dgm:bulletEnabled val="1"/>
        </dgm:presLayoutVars>
      </dgm:prSet>
      <dgm:spPr/>
    </dgm:pt>
    <dgm:pt modelId="{2C0F0824-DE7E-439F-9C77-84FDAD889741}" type="pres">
      <dgm:prSet presAssocID="{27F9A033-BC0D-423A-835B-F4FDA9E8F73C}" presName="spaceBetweenRectangles" presStyleCnt="0"/>
      <dgm:spPr/>
    </dgm:pt>
    <dgm:pt modelId="{2682F373-D0E2-47DD-8D85-39A7347EAF66}" type="pres">
      <dgm:prSet presAssocID="{67C196C1-479D-493A-86F7-906E346B0E64}" presName="parentLin" presStyleCnt="0"/>
      <dgm:spPr/>
    </dgm:pt>
    <dgm:pt modelId="{EA306DFC-DA3B-4982-AE25-13956C56B7BB}" type="pres">
      <dgm:prSet presAssocID="{67C196C1-479D-493A-86F7-906E346B0E64}" presName="parentLeftMargin" presStyleLbl="node1" presStyleIdx="0" presStyleCnt="2"/>
      <dgm:spPr/>
    </dgm:pt>
    <dgm:pt modelId="{902416DC-60D1-44E1-A9BA-CB288DCD1D84}" type="pres">
      <dgm:prSet presAssocID="{67C196C1-479D-493A-86F7-906E346B0E64}" presName="parentText" presStyleLbl="node1" presStyleIdx="1" presStyleCnt="2">
        <dgm:presLayoutVars>
          <dgm:chMax val="0"/>
          <dgm:bulletEnabled val="1"/>
        </dgm:presLayoutVars>
      </dgm:prSet>
      <dgm:spPr/>
    </dgm:pt>
    <dgm:pt modelId="{BDBF67E1-C5D9-4A19-9951-A767C24AF6E2}" type="pres">
      <dgm:prSet presAssocID="{67C196C1-479D-493A-86F7-906E346B0E64}" presName="negativeSpace" presStyleCnt="0"/>
      <dgm:spPr/>
    </dgm:pt>
    <dgm:pt modelId="{F8D3E4B6-63BC-4D03-8AB8-DA50D9D29A49}" type="pres">
      <dgm:prSet presAssocID="{67C196C1-479D-493A-86F7-906E346B0E64}" presName="childText" presStyleLbl="conFgAcc1" presStyleIdx="1" presStyleCnt="2">
        <dgm:presLayoutVars>
          <dgm:bulletEnabled val="1"/>
        </dgm:presLayoutVars>
      </dgm:prSet>
      <dgm:spPr/>
    </dgm:pt>
  </dgm:ptLst>
  <dgm:cxnLst>
    <dgm:cxn modelId="{58088F0C-95E8-40D6-BD50-8AAFB51AB12E}" type="presOf" srcId="{E31C9269-574D-40DC-8597-EF836EA6138D}" destId="{3AD40822-D0F7-405C-A43B-CE4D829B28CD}" srcOrd="1" destOrd="0" presId="urn:microsoft.com/office/officeart/2005/8/layout/list1"/>
    <dgm:cxn modelId="{12F20221-4056-4011-A45F-E2EFF093B73F}" type="presOf" srcId="{67C196C1-479D-493A-86F7-906E346B0E64}" destId="{902416DC-60D1-44E1-A9BA-CB288DCD1D84}" srcOrd="1" destOrd="0" presId="urn:microsoft.com/office/officeart/2005/8/layout/list1"/>
    <dgm:cxn modelId="{AF36AD24-CC77-4E3A-8BF4-969A06371F73}" type="presOf" srcId="{90DD7FB7-59C3-4F67-95FB-1AC806B65FC7}" destId="{DE49C234-723A-4BDE-AC95-03F9FB295F41}" srcOrd="0" destOrd="1" presId="urn:microsoft.com/office/officeart/2005/8/layout/list1"/>
    <dgm:cxn modelId="{91B25833-A916-40C4-971C-30BC9EE3FA78}" type="presOf" srcId="{83729096-D717-4A11-9F09-E3A127CAA486}" destId="{DE49C234-723A-4BDE-AC95-03F9FB295F41}" srcOrd="0" destOrd="0" presId="urn:microsoft.com/office/officeart/2005/8/layout/list1"/>
    <dgm:cxn modelId="{40E2F167-0027-4556-B4AF-F2C9FA3EB436}" type="presOf" srcId="{6D02CA96-1536-4206-B387-E64B77A9B944}" destId="{08B70DAC-320A-4DFB-AE24-D56786139EBC}" srcOrd="0" destOrd="0" presId="urn:microsoft.com/office/officeart/2005/8/layout/list1"/>
    <dgm:cxn modelId="{4974D64A-EBD1-4DBC-A013-559A028C3726}" type="presOf" srcId="{67C196C1-479D-493A-86F7-906E346B0E64}" destId="{EA306DFC-DA3B-4982-AE25-13956C56B7BB}" srcOrd="0" destOrd="0" presId="urn:microsoft.com/office/officeart/2005/8/layout/list1"/>
    <dgm:cxn modelId="{E7475E76-A6BF-4FF7-9D5E-4B393E09A66E}" srcId="{6D02CA96-1536-4206-B387-E64B77A9B944}" destId="{67C196C1-479D-493A-86F7-906E346B0E64}" srcOrd="1" destOrd="0" parTransId="{31E724A6-EEF5-4B01-AF00-D43049EDFFF5}" sibTransId="{7B38B9B2-8EA9-480F-8028-9AF917BB834F}"/>
    <dgm:cxn modelId="{78F8AEA4-FA71-4473-BCE6-CE00F2D142D1}" type="presOf" srcId="{1085A223-9EC0-4455-B54F-22776F734200}" destId="{F8D3E4B6-63BC-4D03-8AB8-DA50D9D29A49}" srcOrd="0" destOrd="1" presId="urn:microsoft.com/office/officeart/2005/8/layout/list1"/>
    <dgm:cxn modelId="{B54A54A9-6197-4DFB-8875-E025548C6612}" type="presOf" srcId="{E31C9269-574D-40DC-8597-EF836EA6138D}" destId="{A5F0B516-A2F6-4CE4-BEBA-89B39652612B}" srcOrd="0" destOrd="0" presId="urn:microsoft.com/office/officeart/2005/8/layout/list1"/>
    <dgm:cxn modelId="{002CD1C4-EB31-4F29-A506-078275CA38D2}" srcId="{E31C9269-574D-40DC-8597-EF836EA6138D}" destId="{90DD7FB7-59C3-4F67-95FB-1AC806B65FC7}" srcOrd="1" destOrd="0" parTransId="{5BE8EC6B-1058-45E7-81EA-D41E277C689F}" sibTransId="{20A75602-F5CF-459F-8329-989DC4184F14}"/>
    <dgm:cxn modelId="{511D38C5-E7AC-4A59-B4F2-5C682660D9E8}" srcId="{E31C9269-574D-40DC-8597-EF836EA6138D}" destId="{83729096-D717-4A11-9F09-E3A127CAA486}" srcOrd="0" destOrd="0" parTransId="{F36E1F41-9EBC-4505-8904-7271970DF5A8}" sibTransId="{D8CFC30E-B037-4636-B740-597D850A0147}"/>
    <dgm:cxn modelId="{DB15CBC5-DDD0-4038-A3AF-D978A594E0A7}" srcId="{67C196C1-479D-493A-86F7-906E346B0E64}" destId="{D50B1C1D-23F0-4D8E-A49D-C685AB8355E6}" srcOrd="0" destOrd="0" parTransId="{154DDF9A-2346-4598-A6B0-4B679273AA11}" sibTransId="{63A512F0-9E7D-44B6-9CEE-0951D7A11727}"/>
    <dgm:cxn modelId="{F338E7D5-C588-4A49-9A8D-F071A054CF19}" srcId="{67C196C1-479D-493A-86F7-906E346B0E64}" destId="{1085A223-9EC0-4455-B54F-22776F734200}" srcOrd="1" destOrd="0" parTransId="{796A3D7C-EEBB-484B-B9D8-9327C51533FA}" sibTransId="{31536E7F-F84F-42ED-A808-9C6E292248E1}"/>
    <dgm:cxn modelId="{2D6511E7-AA6F-4752-8BB4-938B658D75D0}" type="presOf" srcId="{D50B1C1D-23F0-4D8E-A49D-C685AB8355E6}" destId="{F8D3E4B6-63BC-4D03-8AB8-DA50D9D29A49}" srcOrd="0" destOrd="0" presId="urn:microsoft.com/office/officeart/2005/8/layout/list1"/>
    <dgm:cxn modelId="{CEA5AAFB-4AAA-4287-8D03-483D8A7D9C13}" srcId="{6D02CA96-1536-4206-B387-E64B77A9B944}" destId="{E31C9269-574D-40DC-8597-EF836EA6138D}" srcOrd="0" destOrd="0" parTransId="{A531E8D6-CE11-40FF-9F60-13B47E301E86}" sibTransId="{27F9A033-BC0D-423A-835B-F4FDA9E8F73C}"/>
    <dgm:cxn modelId="{92A5B395-CB17-4A96-84DA-2735A54B8AE7}" type="presParOf" srcId="{08B70DAC-320A-4DFB-AE24-D56786139EBC}" destId="{C3F0E0A0-DB67-4CF5-8BB0-ABC4A68F0A4A}" srcOrd="0" destOrd="0" presId="urn:microsoft.com/office/officeart/2005/8/layout/list1"/>
    <dgm:cxn modelId="{02B48D59-015E-4C0C-9018-3A1A43E1C399}" type="presParOf" srcId="{C3F0E0A0-DB67-4CF5-8BB0-ABC4A68F0A4A}" destId="{A5F0B516-A2F6-4CE4-BEBA-89B39652612B}" srcOrd="0" destOrd="0" presId="urn:microsoft.com/office/officeart/2005/8/layout/list1"/>
    <dgm:cxn modelId="{2179267F-10F4-4D07-B993-48EC7DF2DCCC}" type="presParOf" srcId="{C3F0E0A0-DB67-4CF5-8BB0-ABC4A68F0A4A}" destId="{3AD40822-D0F7-405C-A43B-CE4D829B28CD}" srcOrd="1" destOrd="0" presId="urn:microsoft.com/office/officeart/2005/8/layout/list1"/>
    <dgm:cxn modelId="{E7DA0E76-6680-45A6-80F1-BD79990030AB}" type="presParOf" srcId="{08B70DAC-320A-4DFB-AE24-D56786139EBC}" destId="{184D5C77-A416-4CC0-8ADD-9843A53F3EE7}" srcOrd="1" destOrd="0" presId="urn:microsoft.com/office/officeart/2005/8/layout/list1"/>
    <dgm:cxn modelId="{CC516943-B873-42EA-9EFC-62B6504F1984}" type="presParOf" srcId="{08B70DAC-320A-4DFB-AE24-D56786139EBC}" destId="{DE49C234-723A-4BDE-AC95-03F9FB295F41}" srcOrd="2" destOrd="0" presId="urn:microsoft.com/office/officeart/2005/8/layout/list1"/>
    <dgm:cxn modelId="{A1EA9B1A-E8F4-4956-BC80-ED04413697CD}" type="presParOf" srcId="{08B70DAC-320A-4DFB-AE24-D56786139EBC}" destId="{2C0F0824-DE7E-439F-9C77-84FDAD889741}" srcOrd="3" destOrd="0" presId="urn:microsoft.com/office/officeart/2005/8/layout/list1"/>
    <dgm:cxn modelId="{2FE754A0-4FEA-4C57-A935-5B704DADEE15}" type="presParOf" srcId="{08B70DAC-320A-4DFB-AE24-D56786139EBC}" destId="{2682F373-D0E2-47DD-8D85-39A7347EAF66}" srcOrd="4" destOrd="0" presId="urn:microsoft.com/office/officeart/2005/8/layout/list1"/>
    <dgm:cxn modelId="{4661C70D-7925-4EE6-BAB2-8DF50B4151D9}" type="presParOf" srcId="{2682F373-D0E2-47DD-8D85-39A7347EAF66}" destId="{EA306DFC-DA3B-4982-AE25-13956C56B7BB}" srcOrd="0" destOrd="0" presId="urn:microsoft.com/office/officeart/2005/8/layout/list1"/>
    <dgm:cxn modelId="{C09EF9D2-8540-4B32-9E4F-902603F49CD3}" type="presParOf" srcId="{2682F373-D0E2-47DD-8D85-39A7347EAF66}" destId="{902416DC-60D1-44E1-A9BA-CB288DCD1D84}" srcOrd="1" destOrd="0" presId="urn:microsoft.com/office/officeart/2005/8/layout/list1"/>
    <dgm:cxn modelId="{96FC8F0F-42CD-4DF4-8A40-20B799001C2E}" type="presParOf" srcId="{08B70DAC-320A-4DFB-AE24-D56786139EBC}" destId="{BDBF67E1-C5D9-4A19-9951-A767C24AF6E2}" srcOrd="5" destOrd="0" presId="urn:microsoft.com/office/officeart/2005/8/layout/list1"/>
    <dgm:cxn modelId="{119853EA-841C-47E2-BF6E-30A24C271DFC}" type="presParOf" srcId="{08B70DAC-320A-4DFB-AE24-D56786139EBC}" destId="{F8D3E4B6-63BC-4D03-8AB8-DA50D9D29A4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18F98-D77E-404D-8396-2CD567FBCDCB}">
      <dsp:nvSpPr>
        <dsp:cNvPr id="0" name=""/>
        <dsp:cNvSpPr/>
      </dsp:nvSpPr>
      <dsp:spPr>
        <a:xfrm>
          <a:off x="0" y="16106"/>
          <a:ext cx="7421562" cy="1488093"/>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A data page is the fundamental unit of data storage in SQL Server.</a:t>
          </a:r>
          <a:endParaRPr lang="en-US" sz="2500" kern="1200" dirty="0"/>
        </a:p>
      </dsp:txBody>
      <dsp:txXfrm>
        <a:off x="72643" y="88749"/>
        <a:ext cx="7276276" cy="1342807"/>
      </dsp:txXfrm>
    </dsp:sp>
    <dsp:sp modelId="{4E07E69E-F0D7-4C1A-ABB4-C91FBDE32562}">
      <dsp:nvSpPr>
        <dsp:cNvPr id="0" name=""/>
        <dsp:cNvSpPr/>
      </dsp:nvSpPr>
      <dsp:spPr>
        <a:xfrm>
          <a:off x="0" y="1504200"/>
          <a:ext cx="7421562" cy="181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35"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The disk space allocated to a data file (.mdf or .ndf) is logically divided into pages.</a:t>
          </a:r>
          <a:endParaRPr lang="en-US" sz="2000" kern="1200"/>
        </a:p>
        <a:p>
          <a:pPr marL="228600" lvl="1" indent="-228600" algn="l" defTabSz="889000">
            <a:lnSpc>
              <a:spcPct val="90000"/>
            </a:lnSpc>
            <a:spcBef>
              <a:spcPct val="0"/>
            </a:spcBef>
            <a:spcAft>
              <a:spcPct val="20000"/>
            </a:spcAft>
            <a:buChar char="•"/>
          </a:pPr>
          <a:r>
            <a:rPr lang="en-US" sz="2000" kern="1200" baseline="0"/>
            <a:t>Each page is 8 KB in size</a:t>
          </a:r>
          <a:endParaRPr lang="en-US" sz="2000" kern="1200"/>
        </a:p>
        <a:p>
          <a:pPr marL="228600" lvl="1" indent="-228600" algn="l" defTabSz="889000">
            <a:lnSpc>
              <a:spcPct val="90000"/>
            </a:lnSpc>
            <a:spcBef>
              <a:spcPct val="0"/>
            </a:spcBef>
            <a:spcAft>
              <a:spcPct val="20000"/>
            </a:spcAft>
            <a:buChar char="•"/>
          </a:pPr>
          <a:r>
            <a:rPr lang="en-US" sz="2000" kern="1200" baseline="0"/>
            <a:t>Pages are numbered contiguously from 0 to n. </a:t>
          </a:r>
          <a:endParaRPr lang="en-US" sz="2000" kern="1200"/>
        </a:p>
        <a:p>
          <a:pPr marL="228600" lvl="1" indent="-228600" algn="l" defTabSz="889000">
            <a:lnSpc>
              <a:spcPct val="90000"/>
            </a:lnSpc>
            <a:spcBef>
              <a:spcPct val="0"/>
            </a:spcBef>
            <a:spcAft>
              <a:spcPct val="20000"/>
            </a:spcAft>
            <a:buChar char="•"/>
          </a:pPr>
          <a:r>
            <a:rPr lang="en-US" sz="2000" kern="1200" baseline="0"/>
            <a:t>Disk I/O operations are performed at the page level.</a:t>
          </a:r>
          <a:endParaRPr lang="en-US" sz="2000" kern="1200"/>
        </a:p>
      </dsp:txBody>
      <dsp:txXfrm>
        <a:off x="0" y="1504200"/>
        <a:ext cx="7421562" cy="1811250"/>
      </dsp:txXfrm>
    </dsp:sp>
    <dsp:sp modelId="{1B848AEE-BC85-4AA9-8DEF-430F253DFCD7}">
      <dsp:nvSpPr>
        <dsp:cNvPr id="0" name=""/>
        <dsp:cNvSpPr/>
      </dsp:nvSpPr>
      <dsp:spPr>
        <a:xfrm>
          <a:off x="0" y="3315450"/>
          <a:ext cx="7421562" cy="1488093"/>
        </a:xfrm>
        <a:prstGeom prst="roundRect">
          <a:avLst/>
        </a:prstGeom>
        <a:solidFill>
          <a:schemeClr val="accent1">
            <a:shade val="80000"/>
            <a:hueOff val="785154"/>
            <a:satOff val="-42873"/>
            <a:lumOff val="3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a:t>Extents are a collection of eight physically contiguous pages (64KB) and are used to efficiently manage the pages. </a:t>
          </a:r>
          <a:endParaRPr lang="en-US" sz="2500" kern="1200"/>
        </a:p>
      </dsp:txBody>
      <dsp:txXfrm>
        <a:off x="72643" y="3388093"/>
        <a:ext cx="7276276" cy="13428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6BE7E-BB42-40A4-8B14-2BC2362B0DA7}">
      <dsp:nvSpPr>
        <dsp:cNvPr id="0" name=""/>
        <dsp:cNvSpPr/>
      </dsp:nvSpPr>
      <dsp:spPr>
        <a:xfrm>
          <a:off x="0" y="336961"/>
          <a:ext cx="10880726" cy="909562"/>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Trace flag 1118 is used to change default allocation to use uniform extents</a:t>
          </a:r>
        </a:p>
      </dsp:txBody>
      <dsp:txXfrm>
        <a:off x="0" y="336961"/>
        <a:ext cx="10880726" cy="909562"/>
      </dsp:txXfrm>
    </dsp:sp>
    <dsp:sp modelId="{8C141144-BE9A-4ADC-8E56-27B68CEDA7A5}">
      <dsp:nvSpPr>
        <dsp:cNvPr id="0" name=""/>
        <dsp:cNvSpPr/>
      </dsp:nvSpPr>
      <dsp:spPr>
        <a:xfrm>
          <a:off x="544036" y="27001"/>
          <a:ext cx="7616508" cy="6199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Up to, and including, SQL Server 2014 (12.x)</a:t>
          </a:r>
        </a:p>
      </dsp:txBody>
      <dsp:txXfrm>
        <a:off x="574298" y="57263"/>
        <a:ext cx="7555984" cy="559396"/>
      </dsp:txXfrm>
    </dsp:sp>
    <dsp:sp modelId="{87CA896E-F38B-413B-8D64-35A7D0637E54}">
      <dsp:nvSpPr>
        <dsp:cNvPr id="0" name=""/>
        <dsp:cNvSpPr/>
      </dsp:nvSpPr>
      <dsp:spPr>
        <a:xfrm>
          <a:off x="0" y="1669884"/>
          <a:ext cx="10880726" cy="238140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For TempDB: TF 1118 functionality is automatically enabled. </a:t>
          </a:r>
        </a:p>
        <a:p>
          <a:pPr marL="228600" lvl="1" indent="-228600" algn="l" defTabSz="933450">
            <a:lnSpc>
              <a:spcPct val="90000"/>
            </a:lnSpc>
            <a:spcBef>
              <a:spcPct val="0"/>
            </a:spcBef>
            <a:spcAft>
              <a:spcPct val="15000"/>
            </a:spcAft>
            <a:buChar char="•"/>
          </a:pPr>
          <a:r>
            <a:rPr lang="en-US" sz="2100" kern="1200" dirty="0"/>
            <a:t>For user databases: behavior controlled with SET MIXED_PAGE_ALLOCATION option of ALTER DATABASE </a:t>
          </a:r>
        </a:p>
        <a:p>
          <a:pPr marL="457200" lvl="2" indent="-228600" algn="l" defTabSz="933450">
            <a:lnSpc>
              <a:spcPct val="90000"/>
            </a:lnSpc>
            <a:spcBef>
              <a:spcPct val="0"/>
            </a:spcBef>
            <a:spcAft>
              <a:spcPct val="15000"/>
            </a:spcAft>
            <a:buChar char="•"/>
          </a:pPr>
          <a:r>
            <a:rPr lang="en-US" sz="2100" kern="1200" dirty="0"/>
            <a:t>Default value set to OFF</a:t>
          </a:r>
        </a:p>
        <a:p>
          <a:pPr marL="457200" lvl="2" indent="-228600" algn="l" defTabSz="933450">
            <a:lnSpc>
              <a:spcPct val="90000"/>
            </a:lnSpc>
            <a:spcBef>
              <a:spcPct val="0"/>
            </a:spcBef>
            <a:spcAft>
              <a:spcPct val="15000"/>
            </a:spcAft>
            <a:buChar char="•"/>
          </a:pPr>
          <a:r>
            <a:rPr lang="en-US" sz="2100" kern="1200" dirty="0"/>
            <a:t>TF 1118 has no effect. </a:t>
          </a:r>
        </a:p>
      </dsp:txBody>
      <dsp:txXfrm>
        <a:off x="0" y="1669884"/>
        <a:ext cx="10880726" cy="2381400"/>
      </dsp:txXfrm>
    </dsp:sp>
    <dsp:sp modelId="{164A6808-8EE2-47A5-93C4-FA0FBCBBA633}">
      <dsp:nvSpPr>
        <dsp:cNvPr id="0" name=""/>
        <dsp:cNvSpPr/>
      </dsp:nvSpPr>
      <dsp:spPr>
        <a:xfrm>
          <a:off x="544036" y="1359924"/>
          <a:ext cx="7616508" cy="61992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Starting with SQL Server 2016 (13.x) </a:t>
          </a:r>
        </a:p>
      </dsp:txBody>
      <dsp:txXfrm>
        <a:off x="574298" y="1390186"/>
        <a:ext cx="7555984" cy="5593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3424F4-353D-41D3-B9AC-2F0E4F3FE358}">
      <dsp:nvSpPr>
        <dsp:cNvPr id="0" name=""/>
        <dsp:cNvSpPr/>
      </dsp:nvSpPr>
      <dsp:spPr>
        <a:xfrm>
          <a:off x="0" y="105324"/>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PageFID </a:t>
          </a:r>
          <a:r>
            <a:rPr lang="en-US" sz="2200" kern="1200"/>
            <a:t>– The file ID of the current page</a:t>
          </a:r>
        </a:p>
      </dsp:txBody>
      <dsp:txXfrm>
        <a:off x="27644" y="132968"/>
        <a:ext cx="10732455" cy="510992"/>
      </dsp:txXfrm>
    </dsp:sp>
    <dsp:sp modelId="{9A2B0BFA-FE08-4CCD-A4C8-2AF149A654F4}">
      <dsp:nvSpPr>
        <dsp:cNvPr id="0" name=""/>
        <dsp:cNvSpPr/>
      </dsp:nvSpPr>
      <dsp:spPr>
        <a:xfrm>
          <a:off x="0" y="734964"/>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PagePID</a:t>
          </a:r>
          <a:r>
            <a:rPr lang="en-US" sz="2200" kern="1200"/>
            <a:t> – The page number in the file </a:t>
          </a:r>
        </a:p>
      </dsp:txBody>
      <dsp:txXfrm>
        <a:off x="27644" y="762608"/>
        <a:ext cx="10732455" cy="510992"/>
      </dsp:txXfrm>
    </dsp:sp>
    <dsp:sp modelId="{8A8CEB9E-D0B2-4EF2-8138-3C39475D1952}">
      <dsp:nvSpPr>
        <dsp:cNvPr id="0" name=""/>
        <dsp:cNvSpPr/>
      </dsp:nvSpPr>
      <dsp:spPr>
        <a:xfrm>
          <a:off x="0" y="1364604"/>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IAMFID</a:t>
          </a:r>
          <a:r>
            <a:rPr lang="en-US" sz="2200" kern="1200"/>
            <a:t> – The file ID of the IAM page that maps this page</a:t>
          </a:r>
        </a:p>
      </dsp:txBody>
      <dsp:txXfrm>
        <a:off x="27644" y="1392248"/>
        <a:ext cx="10732455" cy="510992"/>
      </dsp:txXfrm>
    </dsp:sp>
    <dsp:sp modelId="{547BE4BA-CD7C-4BE2-8BA1-EFE24EB10AAA}">
      <dsp:nvSpPr>
        <dsp:cNvPr id="0" name=""/>
        <dsp:cNvSpPr/>
      </dsp:nvSpPr>
      <dsp:spPr>
        <a:xfrm>
          <a:off x="0" y="1994244"/>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IAMPID</a:t>
          </a:r>
          <a:r>
            <a:rPr lang="en-US" sz="2200" kern="1200" dirty="0"/>
            <a:t> – The page number in the file of the IAM page</a:t>
          </a:r>
        </a:p>
      </dsp:txBody>
      <dsp:txXfrm>
        <a:off x="27644" y="2021888"/>
        <a:ext cx="10732455" cy="510992"/>
      </dsp:txXfrm>
    </dsp:sp>
    <dsp:sp modelId="{9E14505C-6572-4436-994B-BB106BB27B8B}">
      <dsp:nvSpPr>
        <dsp:cNvPr id="0" name=""/>
        <dsp:cNvSpPr/>
      </dsp:nvSpPr>
      <dsp:spPr>
        <a:xfrm>
          <a:off x="0" y="2623885"/>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ObjectID </a:t>
          </a:r>
          <a:r>
            <a:rPr lang="en-US" sz="2200" kern="1200"/>
            <a:t>– The object id of the current page</a:t>
          </a:r>
        </a:p>
      </dsp:txBody>
      <dsp:txXfrm>
        <a:off x="27644" y="2651529"/>
        <a:ext cx="10732455" cy="510992"/>
      </dsp:txXfrm>
    </dsp:sp>
    <dsp:sp modelId="{A4D89E56-AD83-42DA-8E77-4823B159FAA4}">
      <dsp:nvSpPr>
        <dsp:cNvPr id="0" name=""/>
        <dsp:cNvSpPr/>
      </dsp:nvSpPr>
      <dsp:spPr>
        <a:xfrm>
          <a:off x="0" y="3253525"/>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IndexID – </a:t>
          </a:r>
          <a:r>
            <a:rPr lang="en-US" sz="2200" kern="1200"/>
            <a:t>The ID of the index of the current page</a:t>
          </a:r>
        </a:p>
      </dsp:txBody>
      <dsp:txXfrm>
        <a:off x="27644" y="3281169"/>
        <a:ext cx="10732455" cy="510992"/>
      </dsp:txXfrm>
    </dsp:sp>
    <dsp:sp modelId="{B49459A7-C9FB-4700-AA11-36CB3CCECF64}">
      <dsp:nvSpPr>
        <dsp:cNvPr id="0" name=""/>
        <dsp:cNvSpPr/>
      </dsp:nvSpPr>
      <dsp:spPr>
        <a:xfrm>
          <a:off x="0" y="3883165"/>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PartitionNumber</a:t>
          </a:r>
          <a:r>
            <a:rPr lang="en-US" sz="2200" kern="1200"/>
            <a:t>– Partition of the current page</a:t>
          </a:r>
        </a:p>
      </dsp:txBody>
      <dsp:txXfrm>
        <a:off x="27644" y="3910809"/>
        <a:ext cx="10732455" cy="510992"/>
      </dsp:txXfrm>
    </dsp:sp>
    <dsp:sp modelId="{FB4976BD-8DAA-4F5E-B7C4-D80CA4132B00}">
      <dsp:nvSpPr>
        <dsp:cNvPr id="0" name=""/>
        <dsp:cNvSpPr/>
      </dsp:nvSpPr>
      <dsp:spPr>
        <a:xfrm>
          <a:off x="0" y="4512805"/>
          <a:ext cx="10787743" cy="5662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a:t>PartitionID </a:t>
          </a:r>
          <a:r>
            <a:rPr lang="en-US" sz="2200" kern="1200"/>
            <a:t>-  The internal ID of the partition</a:t>
          </a:r>
        </a:p>
      </dsp:txBody>
      <dsp:txXfrm>
        <a:off x="27644" y="4540449"/>
        <a:ext cx="10732455" cy="5109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826182-ABD6-40C5-A0D0-C0EAECFBA76D}">
      <dsp:nvSpPr>
        <dsp:cNvPr id="0" name=""/>
        <dsp:cNvSpPr/>
      </dsp:nvSpPr>
      <dsp:spPr>
        <a:xfrm>
          <a:off x="0" y="689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err="1"/>
            <a:t>iam_chain_type</a:t>
          </a:r>
          <a:r>
            <a:rPr lang="en-US" sz="2000" b="1" kern="1200" baseline="0" dirty="0"/>
            <a:t>: </a:t>
          </a:r>
          <a:r>
            <a:rPr lang="en-US" sz="2000" kern="1200" baseline="0" dirty="0"/>
            <a:t>Type of allocation storage</a:t>
          </a:r>
          <a:endParaRPr lang="en-US" sz="2000" kern="1200" dirty="0"/>
        </a:p>
      </dsp:txBody>
      <dsp:txXfrm>
        <a:off x="25130" y="94038"/>
        <a:ext cx="10595968" cy="464540"/>
      </dsp:txXfrm>
    </dsp:sp>
    <dsp:sp modelId="{ED28BED1-C6A2-48BB-95A1-53A31556208C}">
      <dsp:nvSpPr>
        <dsp:cNvPr id="0" name=""/>
        <dsp:cNvSpPr/>
      </dsp:nvSpPr>
      <dsp:spPr>
        <a:xfrm>
          <a:off x="0" y="6413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Page Type: </a:t>
          </a:r>
          <a:r>
            <a:rPr lang="en-US" sz="2000" kern="1200" dirty="0"/>
            <a:t>Type of page (Data/Index, Allocation, Recovery, Metadata)</a:t>
          </a:r>
        </a:p>
      </dsp:txBody>
      <dsp:txXfrm>
        <a:off x="25130" y="666438"/>
        <a:ext cx="10595968" cy="464540"/>
      </dsp:txXfrm>
    </dsp:sp>
    <dsp:sp modelId="{04AD4E5B-8202-4090-BB9B-315E06520D8B}">
      <dsp:nvSpPr>
        <dsp:cNvPr id="0" name=""/>
        <dsp:cNvSpPr/>
      </dsp:nvSpPr>
      <dsp:spPr>
        <a:xfrm>
          <a:off x="0" y="12137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Index Level: </a:t>
          </a:r>
          <a:r>
            <a:rPr lang="en-US" sz="2000" kern="1200" baseline="0"/>
            <a:t>Level the page is in the index</a:t>
          </a:r>
          <a:endParaRPr lang="en-US" sz="2000" kern="1200"/>
        </a:p>
      </dsp:txBody>
      <dsp:txXfrm>
        <a:off x="25130" y="1238838"/>
        <a:ext cx="10595968" cy="464540"/>
      </dsp:txXfrm>
    </dsp:sp>
    <dsp:sp modelId="{963287A1-7D29-48F7-A8D0-6F4078AA58E9}">
      <dsp:nvSpPr>
        <dsp:cNvPr id="0" name=""/>
        <dsp:cNvSpPr/>
      </dsp:nvSpPr>
      <dsp:spPr>
        <a:xfrm>
          <a:off x="0" y="17861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err="1"/>
            <a:t>NextPageFID</a:t>
          </a:r>
          <a:r>
            <a:rPr lang="en-US" sz="2000" b="1" kern="1200" baseline="0" dirty="0"/>
            <a:t>: </a:t>
          </a:r>
          <a:r>
            <a:rPr lang="en-US" sz="2000" kern="1200" baseline="0" dirty="0"/>
            <a:t>File ID of the Next File</a:t>
          </a:r>
          <a:endParaRPr lang="en-US" sz="2000" kern="1200" dirty="0"/>
        </a:p>
      </dsp:txBody>
      <dsp:txXfrm>
        <a:off x="25130" y="1811238"/>
        <a:ext cx="10595968" cy="464540"/>
      </dsp:txXfrm>
    </dsp:sp>
    <dsp:sp modelId="{4AFA4E6C-697F-47DD-ABB7-BBD9980F89D6}">
      <dsp:nvSpPr>
        <dsp:cNvPr id="0" name=""/>
        <dsp:cNvSpPr/>
      </dsp:nvSpPr>
      <dsp:spPr>
        <a:xfrm>
          <a:off x="0" y="23585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err="1"/>
            <a:t>NextPagePiD</a:t>
          </a:r>
          <a:r>
            <a:rPr lang="en-US" sz="2000" b="1" kern="1200" baseline="0" dirty="0"/>
            <a:t>: </a:t>
          </a:r>
          <a:r>
            <a:rPr lang="en-US" sz="2000" kern="1200" baseline="0" dirty="0"/>
            <a:t>Page ID of the Next Page</a:t>
          </a:r>
          <a:endParaRPr lang="en-US" sz="2000" kern="1200" dirty="0"/>
        </a:p>
      </dsp:txBody>
      <dsp:txXfrm>
        <a:off x="25130" y="2383638"/>
        <a:ext cx="10595968" cy="464540"/>
      </dsp:txXfrm>
    </dsp:sp>
    <dsp:sp modelId="{B1E2EA02-3E47-4B96-BCD9-A41DA5E7A29A}">
      <dsp:nvSpPr>
        <dsp:cNvPr id="0" name=""/>
        <dsp:cNvSpPr/>
      </dsp:nvSpPr>
      <dsp:spPr>
        <a:xfrm>
          <a:off x="0" y="29309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PrevPageFID: </a:t>
          </a:r>
          <a:r>
            <a:rPr lang="en-US" sz="2000" kern="1200" baseline="0"/>
            <a:t>File ID of the Previous File</a:t>
          </a:r>
          <a:endParaRPr lang="en-US" sz="2000" kern="1200"/>
        </a:p>
      </dsp:txBody>
      <dsp:txXfrm>
        <a:off x="25130" y="2956038"/>
        <a:ext cx="10595968" cy="464540"/>
      </dsp:txXfrm>
    </dsp:sp>
    <dsp:sp modelId="{D6B36591-934F-4C9A-BCFE-31273E85ECE8}">
      <dsp:nvSpPr>
        <dsp:cNvPr id="0" name=""/>
        <dsp:cNvSpPr/>
      </dsp:nvSpPr>
      <dsp:spPr>
        <a:xfrm>
          <a:off x="0" y="3503308"/>
          <a:ext cx="10646228" cy="51480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PrevPageFID: </a:t>
          </a:r>
          <a:r>
            <a:rPr lang="en-US" sz="2000" kern="1200" baseline="0"/>
            <a:t>Page ID of the Previous Page</a:t>
          </a:r>
          <a:endParaRPr lang="en-US" sz="2000" kern="1200"/>
        </a:p>
      </dsp:txBody>
      <dsp:txXfrm>
        <a:off x="25130" y="3528438"/>
        <a:ext cx="10595968" cy="4645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0A1F1B-53A7-4E26-A228-B358B2D55A24}">
      <dsp:nvSpPr>
        <dsp:cNvPr id="0" name=""/>
        <dsp:cNvSpPr/>
      </dsp:nvSpPr>
      <dsp:spPr>
        <a:xfrm>
          <a:off x="0" y="268311"/>
          <a:ext cx="11504118" cy="14175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ixed length data must be store here.</a:t>
          </a:r>
        </a:p>
        <a:p>
          <a:pPr marL="171450" lvl="1" indent="-171450" algn="l" defTabSz="800100">
            <a:lnSpc>
              <a:spcPct val="90000"/>
            </a:lnSpc>
            <a:spcBef>
              <a:spcPct val="0"/>
            </a:spcBef>
            <a:spcAft>
              <a:spcPct val="15000"/>
            </a:spcAft>
            <a:buChar char="•"/>
          </a:pPr>
          <a:r>
            <a:rPr lang="en-US" sz="1800" kern="1200" dirty="0"/>
            <a:t>Rows cannot extend beyond pages</a:t>
          </a:r>
        </a:p>
        <a:p>
          <a:pPr marL="171450" lvl="1" indent="-171450" algn="l" defTabSz="800100">
            <a:lnSpc>
              <a:spcPct val="90000"/>
            </a:lnSpc>
            <a:spcBef>
              <a:spcPct val="0"/>
            </a:spcBef>
            <a:spcAft>
              <a:spcPct val="15000"/>
            </a:spcAft>
            <a:buChar char="•"/>
          </a:pPr>
          <a:r>
            <a:rPr lang="en-US" sz="1800" kern="1200" dirty="0"/>
            <a:t>Data Page is 8060 bytes</a:t>
          </a:r>
        </a:p>
      </dsp:txBody>
      <dsp:txXfrm>
        <a:off x="0" y="268311"/>
        <a:ext cx="11504118" cy="1417500"/>
      </dsp:txXfrm>
    </dsp:sp>
    <dsp:sp modelId="{5345CC5A-3CA0-4CD0-885F-750DC14CBE0B}">
      <dsp:nvSpPr>
        <dsp:cNvPr id="0" name=""/>
        <dsp:cNvSpPr/>
      </dsp:nvSpPr>
      <dsp:spPr>
        <a:xfrm>
          <a:off x="575205" y="2631"/>
          <a:ext cx="8052882" cy="531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IN_ROW_DATA</a:t>
          </a:r>
        </a:p>
      </dsp:txBody>
      <dsp:txXfrm>
        <a:off x="601144" y="28570"/>
        <a:ext cx="8001004" cy="479482"/>
      </dsp:txXfrm>
    </dsp:sp>
    <dsp:sp modelId="{1BE6CC60-0F0D-46CE-A406-F857BBCCE870}">
      <dsp:nvSpPr>
        <dsp:cNvPr id="0" name=""/>
        <dsp:cNvSpPr/>
      </dsp:nvSpPr>
      <dsp:spPr>
        <a:xfrm>
          <a:off x="0" y="2048691"/>
          <a:ext cx="11504118" cy="1417500"/>
        </a:xfrm>
        <a:prstGeom prst="rect">
          <a:avLst/>
        </a:prstGeom>
        <a:solidFill>
          <a:schemeClr val="lt1">
            <a:alpha val="90000"/>
            <a:hueOff val="0"/>
            <a:satOff val="0"/>
            <a:lumOff val="0"/>
            <a:alphaOff val="0"/>
          </a:schemeClr>
        </a:solidFill>
        <a:ln w="10795" cap="flat" cmpd="sng" algn="ctr">
          <a:solidFill>
            <a:schemeClr val="accent2">
              <a:hueOff val="-1333748"/>
              <a:satOff val="27691"/>
              <a:lumOff val="2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max) / nvarchar(max) / varbinary(max)</a:t>
          </a:r>
        </a:p>
        <a:p>
          <a:pPr marL="171450" lvl="1" indent="-171450" algn="l" defTabSz="800100">
            <a:lnSpc>
              <a:spcPct val="90000"/>
            </a:lnSpc>
            <a:spcBef>
              <a:spcPct val="0"/>
            </a:spcBef>
            <a:spcAft>
              <a:spcPct val="15000"/>
            </a:spcAft>
            <a:buChar char="•"/>
          </a:pPr>
          <a:r>
            <a:rPr lang="en-US" sz="1800" kern="1200" dirty="0"/>
            <a:t>16-byte point to out of row tree</a:t>
          </a:r>
        </a:p>
        <a:p>
          <a:pPr marL="171450" lvl="1" indent="-171450" algn="l" defTabSz="800100">
            <a:lnSpc>
              <a:spcPct val="90000"/>
            </a:lnSpc>
            <a:spcBef>
              <a:spcPct val="0"/>
            </a:spcBef>
            <a:spcAft>
              <a:spcPct val="15000"/>
            </a:spcAft>
            <a:buChar char="•"/>
          </a:pPr>
          <a:r>
            <a:rPr lang="en-US" sz="1800" kern="1200" dirty="0"/>
            <a:t>Uses text page to store a stream of data</a:t>
          </a:r>
        </a:p>
      </dsp:txBody>
      <dsp:txXfrm>
        <a:off x="0" y="2048691"/>
        <a:ext cx="11504118" cy="1417500"/>
      </dsp:txXfrm>
    </dsp:sp>
    <dsp:sp modelId="{9AC1164C-B8A9-4BA0-826C-837D06002D2B}">
      <dsp:nvSpPr>
        <dsp:cNvPr id="0" name=""/>
        <dsp:cNvSpPr/>
      </dsp:nvSpPr>
      <dsp:spPr>
        <a:xfrm>
          <a:off x="575205" y="1783011"/>
          <a:ext cx="8052882" cy="53136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LOB_DATA (For out of row storage)</a:t>
          </a:r>
        </a:p>
      </dsp:txBody>
      <dsp:txXfrm>
        <a:off x="601144" y="1808950"/>
        <a:ext cx="8001004" cy="479482"/>
      </dsp:txXfrm>
    </dsp:sp>
    <dsp:sp modelId="{612B4DC7-D7D5-447A-8782-9062D6CCA1B2}">
      <dsp:nvSpPr>
        <dsp:cNvPr id="0" name=""/>
        <dsp:cNvSpPr/>
      </dsp:nvSpPr>
      <dsp:spPr>
        <a:xfrm>
          <a:off x="0" y="3829072"/>
          <a:ext cx="11504118" cy="141750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8000) / nvarchar(4000) / varbinary(8000)</a:t>
          </a:r>
        </a:p>
        <a:p>
          <a:pPr marL="171450" lvl="1" indent="-171450" algn="l" defTabSz="800100">
            <a:lnSpc>
              <a:spcPct val="90000"/>
            </a:lnSpc>
            <a:spcBef>
              <a:spcPct val="0"/>
            </a:spcBef>
            <a:spcAft>
              <a:spcPct val="15000"/>
            </a:spcAft>
            <a:buChar char="•"/>
          </a:pPr>
          <a:r>
            <a:rPr lang="en-US" sz="1800" kern="1200" dirty="0"/>
            <a:t>When a column can’t fit onto a page</a:t>
          </a:r>
        </a:p>
        <a:p>
          <a:pPr marL="171450" lvl="1" indent="-171450" algn="l" defTabSz="800100">
            <a:lnSpc>
              <a:spcPct val="90000"/>
            </a:lnSpc>
            <a:spcBef>
              <a:spcPct val="0"/>
            </a:spcBef>
            <a:spcAft>
              <a:spcPct val="15000"/>
            </a:spcAft>
            <a:buChar char="•"/>
          </a:pPr>
          <a:r>
            <a:rPr lang="en-US" sz="1800" kern="1200" dirty="0"/>
            <a:t>No control over which column overflows</a:t>
          </a:r>
        </a:p>
      </dsp:txBody>
      <dsp:txXfrm>
        <a:off x="0" y="3829072"/>
        <a:ext cx="11504118" cy="1417500"/>
      </dsp:txXfrm>
    </dsp:sp>
    <dsp:sp modelId="{A2693F37-0C62-4143-8E0A-2BC5D60CCFE2}">
      <dsp:nvSpPr>
        <dsp:cNvPr id="0" name=""/>
        <dsp:cNvSpPr/>
      </dsp:nvSpPr>
      <dsp:spPr>
        <a:xfrm>
          <a:off x="575205" y="3563392"/>
          <a:ext cx="8052882" cy="53136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ROW_OVERFLOW_DATA (SLOB)</a:t>
          </a:r>
        </a:p>
      </dsp:txBody>
      <dsp:txXfrm>
        <a:off x="601144" y="3589331"/>
        <a:ext cx="8001004" cy="4794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A6332E-6220-4248-B9A2-231C7E77D4E6}">
      <dsp:nvSpPr>
        <dsp:cNvPr id="0" name=""/>
        <dsp:cNvSpPr/>
      </dsp:nvSpPr>
      <dsp:spPr>
        <a:xfrm>
          <a:off x="0" y="15472"/>
          <a:ext cx="10880726" cy="11044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Returns information about a page in a database. </a:t>
          </a:r>
          <a:endParaRPr lang="en-US" sz="2400" kern="1200" dirty="0"/>
        </a:p>
      </dsp:txBody>
      <dsp:txXfrm>
        <a:off x="53916" y="69388"/>
        <a:ext cx="10772894" cy="996648"/>
      </dsp:txXfrm>
    </dsp:sp>
    <dsp:sp modelId="{EC09AE22-AA6C-4739-B54F-BA74EB8C0C49}">
      <dsp:nvSpPr>
        <dsp:cNvPr id="0" name=""/>
        <dsp:cNvSpPr/>
      </dsp:nvSpPr>
      <dsp:spPr>
        <a:xfrm>
          <a:off x="0" y="1289872"/>
          <a:ext cx="10880726" cy="1104480"/>
        </a:xfrm>
        <a:prstGeom prst="roundRect">
          <a:avLst/>
        </a:prstGeom>
        <a:solidFill>
          <a:schemeClr val="lt1">
            <a:hueOff val="0"/>
            <a:satOff val="0"/>
            <a:lumOff val="0"/>
            <a:alphaOff val="0"/>
          </a:schemeClr>
        </a:solidFill>
        <a:ln w="10795"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hese functions replace the need to use DBCC PAGE.</a:t>
          </a:r>
          <a:endParaRPr lang="en-US" sz="2400" kern="1200" dirty="0"/>
        </a:p>
      </dsp:txBody>
      <dsp:txXfrm>
        <a:off x="53916" y="1343788"/>
        <a:ext cx="10772894" cy="9966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3F5FA1-6CFA-44C1-9213-0458BD7F05A0}">
      <dsp:nvSpPr>
        <dsp:cNvPr id="0" name=""/>
        <dsp:cNvSpPr/>
      </dsp:nvSpPr>
      <dsp:spPr>
        <a:xfrm>
          <a:off x="0" y="39729"/>
          <a:ext cx="10880726" cy="69498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Data files are structured in extents. </a:t>
          </a:r>
          <a:endParaRPr lang="en-US" sz="2700" kern="1200"/>
        </a:p>
      </dsp:txBody>
      <dsp:txXfrm>
        <a:off x="33926" y="73655"/>
        <a:ext cx="10812874" cy="627128"/>
      </dsp:txXfrm>
    </dsp:sp>
    <dsp:sp modelId="{BCC9BC02-507F-4818-810B-C786625D9942}">
      <dsp:nvSpPr>
        <dsp:cNvPr id="0" name=""/>
        <dsp:cNvSpPr/>
      </dsp:nvSpPr>
      <dsp:spPr>
        <a:xfrm>
          <a:off x="0" y="812469"/>
          <a:ext cx="10880726" cy="69498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dirty="0"/>
            <a:t>Each extent (64 KB) has eight pages of 8 KB each.</a:t>
          </a:r>
          <a:endParaRPr lang="en-US" sz="2700" kern="1200" dirty="0"/>
        </a:p>
      </dsp:txBody>
      <dsp:txXfrm>
        <a:off x="33926" y="846395"/>
        <a:ext cx="10812874" cy="627128"/>
      </dsp:txXfrm>
    </dsp:sp>
    <dsp:sp modelId="{55104C2A-E831-4EB5-B246-E42A01B66DCE}">
      <dsp:nvSpPr>
        <dsp:cNvPr id="0" name=""/>
        <dsp:cNvSpPr/>
      </dsp:nvSpPr>
      <dsp:spPr>
        <a:xfrm>
          <a:off x="0" y="1585209"/>
          <a:ext cx="10880726" cy="69498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baseline="0"/>
            <a:t>Two types of extents:</a:t>
          </a:r>
          <a:endParaRPr lang="en-US" sz="2700" kern="1200"/>
        </a:p>
      </dsp:txBody>
      <dsp:txXfrm>
        <a:off x="33926" y="1619135"/>
        <a:ext cx="10812874" cy="627128"/>
      </dsp:txXfrm>
    </dsp:sp>
    <dsp:sp modelId="{8C114712-75C2-484B-9964-6058FCA20C15}">
      <dsp:nvSpPr>
        <dsp:cNvPr id="0" name=""/>
        <dsp:cNvSpPr/>
      </dsp:nvSpPr>
      <dsp:spPr>
        <a:xfrm>
          <a:off x="0" y="2280189"/>
          <a:ext cx="10880726" cy="1564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Mixed extents (Managed by SGAM Page)</a:t>
          </a:r>
          <a:endParaRPr lang="en-US" sz="2100" kern="1200" dirty="0"/>
        </a:p>
        <a:p>
          <a:pPr marL="457200" lvl="2" indent="-228600" algn="l" defTabSz="933450">
            <a:lnSpc>
              <a:spcPct val="90000"/>
            </a:lnSpc>
            <a:spcBef>
              <a:spcPct val="0"/>
            </a:spcBef>
            <a:spcAft>
              <a:spcPct val="20000"/>
            </a:spcAft>
            <a:buChar char="•"/>
          </a:pPr>
          <a:r>
            <a:rPr lang="en-US" sz="2100" kern="1200" baseline="0" dirty="0"/>
            <a:t>Up to 8 distinct objects can reside in the same Mixed Extent.</a:t>
          </a:r>
          <a:endParaRPr lang="en-US" sz="2100" kern="1200" dirty="0"/>
        </a:p>
        <a:p>
          <a:pPr marL="228600" lvl="1" indent="-228600" algn="l" defTabSz="933450">
            <a:lnSpc>
              <a:spcPct val="90000"/>
            </a:lnSpc>
            <a:spcBef>
              <a:spcPct val="0"/>
            </a:spcBef>
            <a:spcAft>
              <a:spcPct val="20000"/>
            </a:spcAft>
            <a:buChar char="•"/>
          </a:pPr>
          <a:r>
            <a:rPr lang="en-US" sz="2100" kern="1200" baseline="0" dirty="0"/>
            <a:t>Uniform extents (Managed by GAM Page)</a:t>
          </a:r>
          <a:endParaRPr lang="en-US" sz="2100" kern="1200" dirty="0"/>
        </a:p>
        <a:p>
          <a:pPr marL="457200" lvl="2" indent="-228600" algn="l" defTabSz="933450">
            <a:lnSpc>
              <a:spcPct val="90000"/>
            </a:lnSpc>
            <a:spcBef>
              <a:spcPct val="0"/>
            </a:spcBef>
            <a:spcAft>
              <a:spcPct val="20000"/>
            </a:spcAft>
            <a:buChar char="•"/>
          </a:pPr>
          <a:r>
            <a:rPr lang="en-US" sz="2100" kern="1200" baseline="0" dirty="0"/>
            <a:t>All pages belong to the same object.</a:t>
          </a:r>
          <a:endParaRPr lang="en-US" sz="2100" kern="1200" dirty="0"/>
        </a:p>
      </dsp:txBody>
      <dsp:txXfrm>
        <a:off x="0" y="2280189"/>
        <a:ext cx="10880726" cy="15649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D81896-5617-4CC3-8571-40FC75A78D98}">
      <dsp:nvSpPr>
        <dsp:cNvPr id="0" name=""/>
        <dsp:cNvSpPr/>
      </dsp:nvSpPr>
      <dsp:spPr>
        <a:xfrm>
          <a:off x="1348" y="1181408"/>
          <a:ext cx="5260950" cy="315657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PFS and IAM are used to determine when an object needs a new extent allocated</a:t>
          </a:r>
          <a:endParaRPr lang="en-US" sz="3800" kern="1200" dirty="0">
            <a:latin typeface="Segoe UI"/>
            <a:ea typeface="+mn-ea"/>
            <a:cs typeface="+mn-cs"/>
          </a:endParaRPr>
        </a:p>
      </dsp:txBody>
      <dsp:txXfrm>
        <a:off x="155439" y="1335499"/>
        <a:ext cx="4952768" cy="2848388"/>
      </dsp:txXfrm>
    </dsp:sp>
    <dsp:sp modelId="{E7D5672E-1078-4242-B34A-3CB1D3C8E10B}">
      <dsp:nvSpPr>
        <dsp:cNvPr id="0" name=""/>
        <dsp:cNvSpPr/>
      </dsp:nvSpPr>
      <dsp:spPr>
        <a:xfrm>
          <a:off x="5788395" y="1181408"/>
          <a:ext cx="5260950" cy="315657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GAMs and SGAMs are used to allocate the extent</a:t>
          </a:r>
          <a:endParaRPr lang="en-US" sz="3800" kern="1200" dirty="0">
            <a:latin typeface="Segoe UI"/>
            <a:ea typeface="+mn-ea"/>
            <a:cs typeface="+mn-cs"/>
          </a:endParaRPr>
        </a:p>
      </dsp:txBody>
      <dsp:txXfrm>
        <a:off x="5942486" y="1335499"/>
        <a:ext cx="4952768" cy="28483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C990E7-EC36-47FB-AF8A-D4BF7B5CB066}">
      <dsp:nvSpPr>
        <dsp:cNvPr id="0" name=""/>
        <dsp:cNvSpPr/>
      </dsp:nvSpPr>
      <dsp:spPr>
        <a:xfrm>
          <a:off x="4090" y="5726"/>
          <a:ext cx="2459851" cy="974983"/>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Page Free Space (PFS)</a:t>
          </a:r>
          <a:endParaRPr lang="en-US" sz="1800" kern="1200" dirty="0"/>
        </a:p>
      </dsp:txBody>
      <dsp:txXfrm>
        <a:off x="4090" y="5726"/>
        <a:ext cx="2459851" cy="974983"/>
      </dsp:txXfrm>
    </dsp:sp>
    <dsp:sp modelId="{E7C774AA-542E-48C3-A864-EEA7245BD745}">
      <dsp:nvSpPr>
        <dsp:cNvPr id="0" name=""/>
        <dsp:cNvSpPr/>
      </dsp:nvSpPr>
      <dsp:spPr>
        <a:xfrm>
          <a:off x="4090" y="980710"/>
          <a:ext cx="2459851" cy="3027460"/>
        </a:xfrm>
        <a:prstGeom prst="rect">
          <a:avLst/>
        </a:prstGeom>
        <a:solidFill>
          <a:schemeClr val="accent2">
            <a:tint val="40000"/>
            <a:alpha val="90000"/>
            <a:hueOff val="0"/>
            <a:satOff val="0"/>
            <a:lumOff val="0"/>
            <a:alphaOff val="0"/>
          </a:schemeClr>
        </a:solidFill>
        <a:ln w="1079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free space on a page uses 1 Byte/Page</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 MB worth of pages</a:t>
          </a:r>
          <a:endParaRPr lang="en-US" sz="1900" kern="1200" dirty="0"/>
        </a:p>
      </dsp:txBody>
      <dsp:txXfrm>
        <a:off x="4090" y="980710"/>
        <a:ext cx="2459851" cy="3027460"/>
      </dsp:txXfrm>
    </dsp:sp>
    <dsp:sp modelId="{9FA250F5-EE59-4D85-8E94-4338AF834BF2}">
      <dsp:nvSpPr>
        <dsp:cNvPr id="0" name=""/>
        <dsp:cNvSpPr/>
      </dsp:nvSpPr>
      <dsp:spPr>
        <a:xfrm>
          <a:off x="2808321" y="5726"/>
          <a:ext cx="2459851" cy="974983"/>
        </a:xfrm>
        <a:prstGeom prst="rect">
          <a:avLst/>
        </a:prstGeom>
        <a:solidFill>
          <a:schemeClr val="accent2">
            <a:hueOff val="-889166"/>
            <a:satOff val="18461"/>
            <a:lumOff val="196"/>
            <a:alphaOff val="0"/>
          </a:schemeClr>
        </a:solidFill>
        <a:ln w="10795" cap="flat" cmpd="sng" algn="ctr">
          <a:solidFill>
            <a:schemeClr val="accent2">
              <a:hueOff val="-889166"/>
              <a:satOff val="18461"/>
              <a:lumOff val="19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lobal Allocation Map (GAM)</a:t>
          </a:r>
          <a:endParaRPr lang="en-US" sz="1800" kern="1200" dirty="0"/>
        </a:p>
      </dsp:txBody>
      <dsp:txXfrm>
        <a:off x="2808321" y="5726"/>
        <a:ext cx="2459851" cy="974983"/>
      </dsp:txXfrm>
    </dsp:sp>
    <dsp:sp modelId="{AD3AE9D9-53BB-496E-A3E4-EF036CF514D2}">
      <dsp:nvSpPr>
        <dsp:cNvPr id="0" name=""/>
        <dsp:cNvSpPr/>
      </dsp:nvSpPr>
      <dsp:spPr>
        <a:xfrm>
          <a:off x="2808321" y="980710"/>
          <a:ext cx="2459851" cy="3027460"/>
        </a:xfrm>
        <a:prstGeom prst="rect">
          <a:avLst/>
        </a:prstGeom>
        <a:solidFill>
          <a:schemeClr val="accent2">
            <a:tint val="40000"/>
            <a:alpha val="90000"/>
            <a:hueOff val="-1162839"/>
            <a:satOff val="3109"/>
            <a:lumOff val="385"/>
            <a:alphaOff val="0"/>
          </a:schemeClr>
        </a:solidFill>
        <a:ln w="10795" cap="flat" cmpd="sng" algn="ctr">
          <a:solidFill>
            <a:schemeClr val="accent2">
              <a:tint val="40000"/>
              <a:alpha val="90000"/>
              <a:hueOff val="-1162839"/>
              <a:satOff val="3109"/>
              <a:lumOff val="3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Uniform extents that have been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2808321" y="980710"/>
        <a:ext cx="2459851" cy="3027460"/>
      </dsp:txXfrm>
    </dsp:sp>
    <dsp:sp modelId="{580B96B5-8BC4-454D-B4D6-22D2C7BBC512}">
      <dsp:nvSpPr>
        <dsp:cNvPr id="0" name=""/>
        <dsp:cNvSpPr/>
      </dsp:nvSpPr>
      <dsp:spPr>
        <a:xfrm>
          <a:off x="5612552" y="5726"/>
          <a:ext cx="2459851" cy="974983"/>
        </a:xfrm>
        <a:prstGeom prst="rect">
          <a:avLst/>
        </a:prstGeom>
        <a:solidFill>
          <a:schemeClr val="accent2">
            <a:hueOff val="-1778331"/>
            <a:satOff val="36921"/>
            <a:lumOff val="392"/>
            <a:alphaOff val="0"/>
          </a:schemeClr>
        </a:solidFill>
        <a:ln w="10795" cap="flat" cmpd="sng" algn="ctr">
          <a:solidFill>
            <a:schemeClr val="accent2">
              <a:hueOff val="-1778331"/>
              <a:satOff val="36921"/>
              <a:lumOff val="39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Shared Global Allocation Map (SGAM)</a:t>
          </a:r>
          <a:endParaRPr lang="en-US" sz="1800" kern="1200" dirty="0"/>
        </a:p>
      </dsp:txBody>
      <dsp:txXfrm>
        <a:off x="5612552" y="5726"/>
        <a:ext cx="2459851" cy="974983"/>
      </dsp:txXfrm>
    </dsp:sp>
    <dsp:sp modelId="{403F8695-450D-4790-878E-6F6D6F842041}">
      <dsp:nvSpPr>
        <dsp:cNvPr id="0" name=""/>
        <dsp:cNvSpPr/>
      </dsp:nvSpPr>
      <dsp:spPr>
        <a:xfrm>
          <a:off x="5612552" y="980710"/>
          <a:ext cx="2459851" cy="3027460"/>
        </a:xfrm>
        <a:prstGeom prst="rect">
          <a:avLst/>
        </a:prstGeom>
        <a:solidFill>
          <a:schemeClr val="accent2">
            <a:tint val="40000"/>
            <a:alpha val="90000"/>
            <a:hueOff val="-2325678"/>
            <a:satOff val="6218"/>
            <a:lumOff val="769"/>
            <a:alphaOff val="0"/>
          </a:schemeClr>
        </a:solidFill>
        <a:ln w="10795" cap="flat" cmpd="sng" algn="ctr">
          <a:solidFill>
            <a:schemeClr val="accent2">
              <a:tint val="40000"/>
              <a:alpha val="90000"/>
              <a:hueOff val="-2325678"/>
              <a:satOff val="6218"/>
              <a:lumOff val="7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Mixed extents that have all 8 pages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5612552" y="980710"/>
        <a:ext cx="2459851" cy="3027460"/>
      </dsp:txXfrm>
    </dsp:sp>
    <dsp:sp modelId="{7D0E2B34-C1FF-4757-9556-4EBE8E8751BA}">
      <dsp:nvSpPr>
        <dsp:cNvPr id="0" name=""/>
        <dsp:cNvSpPr/>
      </dsp:nvSpPr>
      <dsp:spPr>
        <a:xfrm>
          <a:off x="8416782" y="5726"/>
          <a:ext cx="2459851" cy="974983"/>
        </a:xfrm>
        <a:prstGeom prst="rect">
          <a:avLst/>
        </a:prstGeom>
        <a:solidFill>
          <a:schemeClr val="accent2">
            <a:hueOff val="-2667497"/>
            <a:satOff val="55382"/>
            <a:lumOff val="588"/>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dex Allocation Map (IAM)</a:t>
          </a:r>
          <a:endParaRPr lang="en-US" sz="1800" kern="1200" dirty="0"/>
        </a:p>
      </dsp:txBody>
      <dsp:txXfrm>
        <a:off x="8416782" y="5726"/>
        <a:ext cx="2459851" cy="974983"/>
      </dsp:txXfrm>
    </dsp:sp>
    <dsp:sp modelId="{7849064C-C948-4E3B-AB3A-3790921E0E33}">
      <dsp:nvSpPr>
        <dsp:cNvPr id="0" name=""/>
        <dsp:cNvSpPr/>
      </dsp:nvSpPr>
      <dsp:spPr>
        <a:xfrm>
          <a:off x="8416782" y="980710"/>
          <a:ext cx="2459851" cy="3027460"/>
        </a:xfrm>
        <a:prstGeom prst="rect">
          <a:avLst/>
        </a:prstGeom>
        <a:solidFill>
          <a:schemeClr val="accent2">
            <a:tint val="40000"/>
            <a:alpha val="90000"/>
            <a:hueOff val="-3488517"/>
            <a:satOff val="9327"/>
            <a:lumOff val="1154"/>
            <a:alphaOff val="0"/>
          </a:schemeClr>
        </a:solidFill>
        <a:ln w="10795" cap="flat" cmpd="sng" algn="ctr">
          <a:solidFill>
            <a:schemeClr val="accent2">
              <a:tint val="40000"/>
              <a:alpha val="90000"/>
              <a:hueOff val="-3488517"/>
              <a:satOff val="9327"/>
              <a:lumOff val="115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extents that are allocated to an allocation uni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4 GB worth of data</a:t>
          </a:r>
          <a:endParaRPr lang="en-US" sz="1900" kern="1200" dirty="0"/>
        </a:p>
        <a:p>
          <a:pPr marL="171450" lvl="1" indent="-171450" algn="l" defTabSz="844550">
            <a:lnSpc>
              <a:spcPct val="90000"/>
            </a:lnSpc>
            <a:spcBef>
              <a:spcPct val="0"/>
            </a:spcBef>
            <a:spcAft>
              <a:spcPct val="15000"/>
            </a:spcAft>
            <a:buChar char="•"/>
          </a:pPr>
          <a:r>
            <a:rPr lang="en-US" sz="1900" kern="1200" baseline="0" dirty="0"/>
            <a:t>One IAM chain per table, per index, per partition, per allocation unit type</a:t>
          </a:r>
          <a:endParaRPr lang="en-US" sz="1900" kern="1200" dirty="0"/>
        </a:p>
      </dsp:txBody>
      <dsp:txXfrm>
        <a:off x="8416782" y="980710"/>
        <a:ext cx="2459851" cy="302746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49C234-723A-4BDE-AC95-03F9FB295F41}">
      <dsp:nvSpPr>
        <dsp:cNvPr id="0" name=""/>
        <dsp:cNvSpPr/>
      </dsp:nvSpPr>
      <dsp:spPr>
        <a:xfrm>
          <a:off x="0" y="561675"/>
          <a:ext cx="10880725" cy="174825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77063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On object creation two pages from a mixed extents are allocated</a:t>
          </a:r>
        </a:p>
        <a:p>
          <a:pPr marL="228600" lvl="1" indent="-228600" algn="l" defTabSz="1066800">
            <a:lnSpc>
              <a:spcPct val="90000"/>
            </a:lnSpc>
            <a:spcBef>
              <a:spcPct val="0"/>
            </a:spcBef>
            <a:spcAft>
              <a:spcPct val="15000"/>
            </a:spcAft>
            <a:buChar char="•"/>
          </a:pPr>
          <a:r>
            <a:rPr lang="en-US" sz="2400" kern="1200" dirty="0"/>
            <a:t>After 8 data pages,  new allocation comes from Uniform Extent</a:t>
          </a:r>
        </a:p>
      </dsp:txBody>
      <dsp:txXfrm>
        <a:off x="0" y="561675"/>
        <a:ext cx="10880725" cy="1748250"/>
      </dsp:txXfrm>
    </dsp:sp>
    <dsp:sp modelId="{3AD40822-D0F7-405C-A43B-CE4D829B28CD}">
      <dsp:nvSpPr>
        <dsp:cNvPr id="0" name=""/>
        <dsp:cNvSpPr/>
      </dsp:nvSpPr>
      <dsp:spPr>
        <a:xfrm>
          <a:off x="544036" y="15555"/>
          <a:ext cx="7616507" cy="109224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Up to, and including, SQL Server 2014 (12.x)</a:t>
          </a:r>
        </a:p>
      </dsp:txBody>
      <dsp:txXfrm>
        <a:off x="597355" y="68874"/>
        <a:ext cx="7509869" cy="985602"/>
      </dsp:txXfrm>
    </dsp:sp>
    <dsp:sp modelId="{F8D3E4B6-63BC-4D03-8AB8-DA50D9D29A49}">
      <dsp:nvSpPr>
        <dsp:cNvPr id="0" name=""/>
        <dsp:cNvSpPr/>
      </dsp:nvSpPr>
      <dsp:spPr>
        <a:xfrm>
          <a:off x="0" y="3055845"/>
          <a:ext cx="10880725" cy="174825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77063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Default data page allocation is Uniform extents</a:t>
          </a:r>
        </a:p>
        <a:p>
          <a:pPr marL="228600" lvl="1" indent="-228600" algn="l" defTabSz="1066800">
            <a:lnSpc>
              <a:spcPct val="90000"/>
            </a:lnSpc>
            <a:spcBef>
              <a:spcPct val="0"/>
            </a:spcBef>
            <a:spcAft>
              <a:spcPct val="15000"/>
            </a:spcAft>
            <a:buChar char="•"/>
          </a:pPr>
          <a:r>
            <a:rPr lang="en-US" sz="2400" kern="1200" dirty="0"/>
            <a:t>Decreases contention on SGAM objects</a:t>
          </a:r>
        </a:p>
      </dsp:txBody>
      <dsp:txXfrm>
        <a:off x="0" y="3055845"/>
        <a:ext cx="10880725" cy="1748250"/>
      </dsp:txXfrm>
    </dsp:sp>
    <dsp:sp modelId="{902416DC-60D1-44E1-A9BA-CB288DCD1D84}">
      <dsp:nvSpPr>
        <dsp:cNvPr id="0" name=""/>
        <dsp:cNvSpPr/>
      </dsp:nvSpPr>
      <dsp:spPr>
        <a:xfrm>
          <a:off x="544036" y="2509725"/>
          <a:ext cx="7616507" cy="109224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Starting with SQL Server 2016 (13.x)</a:t>
          </a:r>
        </a:p>
      </dsp:txBody>
      <dsp:txXfrm>
        <a:off x="597355" y="2563044"/>
        <a:ext cx="7509869" cy="9856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6/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SGAM pages record which extents are now used as mixed extents and have at least one unused page. Similar to a GAM, each SGAM covers about 64,000 extents, or almost 4 GB of data. The SGAM has a bit for each extent in the interval it covers. If the bit is 1, the extent being used is a mixed extent and has unallocated pages; if the bit is 0, the extent is not being used as a mixed extent, or it is a mixed extent whose pages are all in use.</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1070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baseline="0" dirty="0"/>
              <a:t>Up to, and including, SQL Server 2014 (12.x)</a:t>
            </a:r>
            <a:endParaRPr lang="en-US" sz="1800" dirty="0"/>
          </a:p>
          <a:p>
            <a:pPr lvl="1"/>
            <a:r>
              <a:rPr lang="en-US" sz="1800" baseline="0" dirty="0"/>
              <a:t>On object creation 2 pages from a mixed extents are allocated:</a:t>
            </a:r>
            <a:endParaRPr lang="en-US" sz="1800" dirty="0"/>
          </a:p>
          <a:p>
            <a:pPr lvl="2"/>
            <a:r>
              <a:rPr lang="en-US" sz="1800" baseline="0" dirty="0"/>
              <a:t>1st page is for the object itself</a:t>
            </a:r>
            <a:endParaRPr lang="en-US" sz="1800" dirty="0"/>
          </a:p>
          <a:p>
            <a:pPr lvl="2"/>
            <a:r>
              <a:rPr lang="en-US" sz="1800" baseline="0" dirty="0"/>
              <a:t>2nd page contains the list of all pages used by the object (IAM)</a:t>
            </a:r>
            <a:endParaRPr lang="en-US" sz="1800" dirty="0"/>
          </a:p>
          <a:p>
            <a:pPr lvl="1"/>
            <a:r>
              <a:rPr lang="en-US" sz="1800" baseline="0" dirty="0"/>
              <a:t>As more space is needed, additional pages are added:</a:t>
            </a:r>
            <a:endParaRPr lang="en-US" sz="1800" dirty="0"/>
          </a:p>
          <a:p>
            <a:pPr lvl="2"/>
            <a:r>
              <a:rPr lang="en-US" sz="1800" baseline="0" dirty="0"/>
              <a:t>Up to 8 data pages, new pages are added individually from mixed extents </a:t>
            </a:r>
            <a:endParaRPr lang="en-US" sz="1800" dirty="0"/>
          </a:p>
          <a:p>
            <a:pPr lvl="2"/>
            <a:r>
              <a:rPr lang="en-US" sz="1800" baseline="0" dirty="0"/>
              <a:t>After 8 data pages,  new allocation comes from Uniform Extent – i.e. 8 pages are allocated</a:t>
            </a:r>
            <a:endParaRPr lang="en-US" sz="1800" dirty="0"/>
          </a:p>
          <a:p>
            <a:pPr lvl="2"/>
            <a:r>
              <a:rPr lang="en-US" sz="1800" baseline="0" dirty="0"/>
              <a:t>The corresponding IAM gets updated to reflect new page(s)</a:t>
            </a:r>
            <a:endParaRPr lang="en-US" sz="1800"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dirty="0"/>
          </a:p>
        </p:txBody>
      </p:sp>
    </p:spTree>
    <p:extLst>
      <p:ext uri="{BB962C8B-B14F-4D97-AF65-F5344CB8AC3E}">
        <p14:creationId xmlns:p14="http://schemas.microsoft.com/office/powerpoint/2010/main" val="3572307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768826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Consider a scenario, where the user is trying to insert/update a record into the database table. Represented below is a very high level overview of the algorithm/process SQL Server uses to insert/update the record. There is another thing which SQL Server has to check when doing an INSERT operation. But those are not important for this discussion about the Allocation objects.</a:t>
            </a:r>
          </a:p>
          <a:p>
            <a:pPr lvl="1"/>
            <a:r>
              <a:rPr lang="en-US" dirty="0"/>
              <a:t>Calculate the space required for the inserted record (or could be updated record size).</a:t>
            </a:r>
          </a:p>
          <a:p>
            <a:pPr lvl="1"/>
            <a:r>
              <a:rPr lang="en-US" dirty="0"/>
              <a:t>Check if the Table already had some pages allocated (use IAM page/Clustered Index Root Page). In case of update, this would always be true.</a:t>
            </a:r>
          </a:p>
          <a:p>
            <a:pPr lvl="1"/>
            <a:r>
              <a:rPr lang="en-US" dirty="0"/>
              <a:t>Check if any of these pages has enough unallocated space to fit the new record (PFS Page/Page header). If there is enough space, insert record and update PFS page/Page header with the information related to unallocated space and other related information.</a:t>
            </a:r>
          </a:p>
          <a:p>
            <a:pPr lvl="1"/>
            <a:r>
              <a:rPr lang="en-US" dirty="0"/>
              <a:t>If there is not enough unallocated space on the pages, allocate a New Page.</a:t>
            </a:r>
          </a:p>
          <a:p>
            <a:pPr lvl="1"/>
            <a:r>
              <a:rPr lang="en-US" dirty="0"/>
              <a:t>Check if TF 1118 (uniform Extent allocation) is enabled or if the table has more than eight pages already allocated or if SQL Server is 13.x or later.</a:t>
            </a:r>
          </a:p>
          <a:p>
            <a:pPr marL="344472" lvl="2" indent="0">
              <a:buNone/>
            </a:pPr>
            <a:r>
              <a:rPr lang="en-US" dirty="0"/>
              <a:t>If yes, allocate a new Uniform extent to the table, else allocate a page from one of the Mixed extents (GAM/SGAM Pages). Update GAM/SGAM, to reflect the changes (mark the extent used in case it was uniform extent allocation, or if the mixed extent is full). Additionally, update the IAM Page with the information.</a:t>
            </a:r>
          </a:p>
          <a:p>
            <a:pPr lvl="1"/>
            <a:r>
              <a:rPr lang="en-US" dirty="0"/>
              <a:t>Insert the record on the newly allocated page, update the PFS Page, with the unallocated space information.</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887145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The fundamental unit of data storage in SQL Server is the page. The disk space allocated to a data file (.mdf or .ndf) in a database is logically divided into pages numbered contiguously from 0 to n. Disk I/O operations are performed at the page level. That is, SQL Server reads or writes whole data pages.</a:t>
            </a:r>
          </a:p>
          <a:p>
            <a:r>
              <a:rPr lang="en-US" sz="882" b="0" i="0" kern="1200" baseline="0" dirty="0">
                <a:solidFill>
                  <a:schemeClr val="tx1"/>
                </a:solidFill>
                <a:effectLst/>
                <a:latin typeface="+mn-lt"/>
                <a:ea typeface="+mn-ea"/>
                <a:cs typeface="+mn-cs"/>
              </a:rPr>
              <a:t>Extents are a collection of eight physically contiguous pages and are used to efficiently manage the pages. All pages are stored in extent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In SQL Server, the page size is 8 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993778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Take a regular book: all content in it is written on pages. Similar to a book, in SQL Server all the data rows are written on pages. In a book, all pages are the same physical size. Similarly, in SQL Server all data pages are the same size - 8 kilobytes. In a book most pages contain the data - the main content of the book - and some pages contain metadata about the content - for example table of contents and index. Again, SQL Server is not different: most pages contain actual rows of data which were stored by users; these are called Data pages and text/image pages (for special cases). The Index pages contain index references about where the data is and finally there are system pages that store variety of metadata about the organization of the data (PFS, GAM, SGAM, IAM, DCM, BCM pages). See table below for page types and their description.</a:t>
            </a:r>
          </a:p>
          <a:p>
            <a:r>
              <a:rPr lang="en-US" sz="882" b="0" i="0" kern="1200" baseline="0" dirty="0">
                <a:solidFill>
                  <a:schemeClr val="tx1"/>
                </a:solidFill>
                <a:effectLst/>
                <a:latin typeface="+mn-lt"/>
                <a:ea typeface="+mn-ea"/>
                <a:cs typeface="+mn-cs"/>
              </a:rPr>
              <a:t>As mentioned, in SQL Server, the page size is 8-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1513289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Take a regular book: all content in it is written on pages. Similar to a book, in SQL Server all the data rows are written on pages. In a book, all pages are the same physical size. Similarly, in SQL Server all data pages are the same size - 8 kilobytes. In a book most pages contain the data - the main content of the book - and some pages contain metadata about the content - for example table of contents and index. Again, SQL Server is not different: most pages contain actual rows of data which were stored by users; these are called Data pages and text/image pages (for special cases). The Index pages contain index references about where the data is and finally there are system pages that store variety of metadata about the organization of the data (PFS, GAM, SGAM, IAM, DCM, BCM pages). See table below for page types and their description.</a:t>
            </a:r>
          </a:p>
          <a:p>
            <a:r>
              <a:rPr lang="en-US" sz="882" b="0" i="0" kern="1200" baseline="0" dirty="0">
                <a:solidFill>
                  <a:schemeClr val="tx1"/>
                </a:solidFill>
                <a:effectLst/>
                <a:latin typeface="+mn-lt"/>
                <a:ea typeface="+mn-ea"/>
                <a:cs typeface="+mn-cs"/>
              </a:rPr>
              <a:t>As mentioned, in SQL Server, the page size is 8-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dirty="0"/>
          </a:p>
        </p:txBody>
      </p:sp>
    </p:spTree>
    <p:extLst>
      <p:ext uri="{BB962C8B-B14F-4D97-AF65-F5344CB8AC3E}">
        <p14:creationId xmlns:p14="http://schemas.microsoft.com/office/powerpoint/2010/main" val="4253585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https://docs.microsoft.com/en-us/sql/relational-databases/system-dynamic-management-views/sys-dm-db-page-info-transact-sql?view=sql-server-ver15</a:t>
            </a:r>
            <a:r>
              <a:rPr lang="en-US" dirty="0"/>
              <a:t>  </a:t>
            </a:r>
          </a:p>
          <a:p>
            <a:endParaRPr lang="en-US" dirty="0"/>
          </a:p>
          <a:p>
            <a:r>
              <a:rPr lang="en-US" dirty="0"/>
              <a:t>sys.dm_db_page_info</a:t>
            </a:r>
            <a:r>
              <a:rPr lang="en-US" sz="882" b="0" i="0" u="none" strike="noStrike" kern="1200" baseline="0" dirty="0">
                <a:solidFill>
                  <a:schemeClr val="tx1"/>
                </a:solidFill>
                <a:effectLst/>
                <a:latin typeface="+mn-lt"/>
                <a:ea typeface="+mn-ea"/>
                <a:cs typeface="+mn-cs"/>
              </a:rPr>
              <a:t> can be used in place of the </a:t>
            </a:r>
            <a:r>
              <a:rPr lang="en-US" dirty="0"/>
              <a:t>DBCC PAGE</a:t>
            </a:r>
            <a:r>
              <a:rPr lang="en-US" sz="882" b="0" i="0" u="none" strike="noStrike" kern="1200" baseline="0" dirty="0">
                <a:solidFill>
                  <a:schemeClr val="tx1"/>
                </a:solidFill>
                <a:effectLst/>
                <a:latin typeface="+mn-lt"/>
                <a:ea typeface="+mn-ea"/>
                <a:cs typeface="+mn-cs"/>
              </a:rPr>
              <a:t> statement in many cases, but it returns only the page header information, not the body of the page. </a:t>
            </a:r>
            <a:r>
              <a:rPr lang="en-US" dirty="0"/>
              <a:t>DBCC PAGE</a:t>
            </a:r>
            <a:r>
              <a:rPr lang="en-US" sz="882" b="0" i="0" u="none" strike="noStrike" kern="1200" baseline="0" dirty="0">
                <a:solidFill>
                  <a:schemeClr val="tx1"/>
                </a:solidFill>
                <a:effectLst/>
                <a:latin typeface="+mn-lt"/>
                <a:ea typeface="+mn-ea"/>
                <a:cs typeface="+mn-cs"/>
              </a:rPr>
              <a:t> will still be needed for use cases where the entire contents of the page are requir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1417503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tents</a:t>
            </a:r>
          </a:p>
          <a:p>
            <a:r>
              <a:rPr lang="en-US" sz="882" b="0" i="0" kern="1200" baseline="0" dirty="0">
                <a:solidFill>
                  <a:schemeClr val="tx1"/>
                </a:solidFill>
                <a:effectLst/>
                <a:latin typeface="+mn-lt"/>
                <a:ea typeface="+mn-ea"/>
                <a:cs typeface="+mn-cs"/>
              </a:rPr>
              <a:t>Extents are the basic unit in which space is managed. An extent is eight physically contiguous pages, or 64 KB. This means SQL Server databases have 16 extents per megabyte.</a:t>
            </a:r>
          </a:p>
          <a:p>
            <a:r>
              <a:rPr lang="en-US" sz="882" b="0" i="0" kern="1200" baseline="0" dirty="0">
                <a:solidFill>
                  <a:schemeClr val="tx1"/>
                </a:solidFill>
                <a:effectLst/>
                <a:latin typeface="+mn-lt"/>
                <a:ea typeface="+mn-ea"/>
                <a:cs typeface="+mn-cs"/>
              </a:rPr>
              <a:t>SQL Server has two types of extents:</a:t>
            </a:r>
          </a:p>
          <a:p>
            <a:endParaRPr lang="en-US" sz="882" b="0" i="0" kern="1200" baseline="0" dirty="0">
              <a:solidFill>
                <a:schemeClr val="tx1"/>
              </a:solidFill>
              <a:effectLst/>
              <a:latin typeface="+mn-lt"/>
              <a:ea typeface="+mn-ea"/>
              <a:cs typeface="+mn-cs"/>
            </a:endParaRPr>
          </a:p>
          <a:p>
            <a:pPr lvl="1"/>
            <a:r>
              <a:rPr lang="en-US" sz="882" b="1" i="0" kern="1200" baseline="0" dirty="0">
                <a:solidFill>
                  <a:schemeClr val="tx1"/>
                </a:solidFill>
                <a:effectLst/>
                <a:latin typeface="+mn-lt"/>
                <a:ea typeface="+mn-ea"/>
                <a:cs typeface="+mn-cs"/>
              </a:rPr>
              <a:t>Uniform</a:t>
            </a:r>
            <a:r>
              <a:rPr lang="en-US" sz="882" b="0" i="0" kern="1200" baseline="0" dirty="0">
                <a:solidFill>
                  <a:schemeClr val="tx1"/>
                </a:solidFill>
                <a:effectLst/>
                <a:latin typeface="+mn-lt"/>
                <a:ea typeface="+mn-ea"/>
                <a:cs typeface="+mn-cs"/>
              </a:rPr>
              <a:t> extents are owned by a single object; all eight pages in the extent can only be used by the owning object.</a:t>
            </a:r>
          </a:p>
          <a:p>
            <a:pPr lvl="1"/>
            <a:r>
              <a:rPr lang="en-US" sz="882" b="1" i="0" kern="1200" baseline="0" dirty="0">
                <a:solidFill>
                  <a:schemeClr val="tx1"/>
                </a:solidFill>
                <a:effectLst/>
                <a:latin typeface="+mn-lt"/>
                <a:ea typeface="+mn-ea"/>
                <a:cs typeface="+mn-cs"/>
              </a:rPr>
              <a:t>Mixed</a:t>
            </a:r>
            <a:r>
              <a:rPr lang="en-US" sz="882" b="0" i="0" kern="1200" baseline="0" dirty="0">
                <a:solidFill>
                  <a:schemeClr val="tx1"/>
                </a:solidFill>
                <a:effectLst/>
                <a:latin typeface="+mn-lt"/>
                <a:ea typeface="+mn-ea"/>
                <a:cs typeface="+mn-cs"/>
              </a:rPr>
              <a:t> extents are shared by up to eight objects. Each of the eight pages in the extent can be owned by a different object.</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3480202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PFS and IAM are used to determine when an object needs a new extent allocated</a:t>
            </a:r>
          </a:p>
          <a:p>
            <a:r>
              <a:rPr lang="en-US" sz="9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aps have one row in </a:t>
            </a:r>
            <a:r>
              <a:rPr lang="en-US" sz="900" b="1" kern="1200" dirty="0" err="1">
                <a:solidFill>
                  <a:schemeClr val="tx1"/>
                </a:solidFill>
                <a:effectLst/>
                <a:latin typeface="Segoe UI Light" pitchFamily="34" charset="0"/>
                <a:ea typeface="+mn-ea"/>
                <a:cs typeface="+mn-cs"/>
              </a:rPr>
              <a:t>sys.partitions</a:t>
            </a:r>
            <a:r>
              <a:rPr lang="en-US" sz="900" kern="1200" dirty="0">
                <a:solidFill>
                  <a:schemeClr val="tx1"/>
                </a:solidFill>
                <a:effectLst/>
                <a:latin typeface="Segoe UI Light" pitchFamily="34" charset="0"/>
                <a:ea typeface="+mn-ea"/>
                <a:cs typeface="+mn-cs"/>
              </a:rPr>
              <a:t> with </a:t>
            </a:r>
            <a:r>
              <a:rPr lang="en-US" sz="900" b="1" kern="1200" dirty="0" err="1">
                <a:solidFill>
                  <a:schemeClr val="tx1"/>
                </a:solidFill>
                <a:effectLst/>
                <a:latin typeface="Segoe UI Light" pitchFamily="34" charset="0"/>
                <a:ea typeface="+mn-ea"/>
                <a:cs typeface="+mn-cs"/>
              </a:rPr>
              <a:t>index_id</a:t>
            </a:r>
            <a:r>
              <a:rPr lang="en-US" sz="900" kern="1200" dirty="0">
                <a:solidFill>
                  <a:schemeClr val="tx1"/>
                </a:solidFill>
                <a:effectLst/>
                <a:latin typeface="Segoe UI Light" pitchFamily="34" charset="0"/>
                <a:ea typeface="+mn-ea"/>
                <a:cs typeface="+mn-cs"/>
              </a:rPr>
              <a:t> = 0. The </a:t>
            </a:r>
            <a:r>
              <a:rPr lang="en-US" sz="900" b="1" kern="1200" dirty="0" err="1">
                <a:solidFill>
                  <a:schemeClr val="tx1"/>
                </a:solidFill>
                <a:effectLst/>
                <a:latin typeface="Segoe UI Light" pitchFamily="34" charset="0"/>
                <a:ea typeface="+mn-ea"/>
                <a:cs typeface="+mn-cs"/>
              </a:rPr>
              <a:t>first_iam_page</a:t>
            </a:r>
            <a:r>
              <a:rPr lang="en-US" sz="900" kern="1200" dirty="0">
                <a:solidFill>
                  <a:schemeClr val="tx1"/>
                </a:solidFill>
                <a:effectLst/>
                <a:latin typeface="Segoe UI Light" pitchFamily="34" charset="0"/>
                <a:ea typeface="+mn-ea"/>
                <a:cs typeface="+mn-cs"/>
              </a:rPr>
              <a:t> column in </a:t>
            </a:r>
            <a:r>
              <a:rPr lang="en-US" sz="900" b="1" kern="1200" dirty="0" err="1">
                <a:solidFill>
                  <a:schemeClr val="tx1"/>
                </a:solidFill>
                <a:effectLst/>
                <a:latin typeface="Segoe UI Light" pitchFamily="34" charset="0"/>
                <a:ea typeface="+mn-ea"/>
                <a:cs typeface="+mn-cs"/>
              </a:rPr>
              <a:t>sys.system_internals_allocation_units</a:t>
            </a:r>
            <a:r>
              <a:rPr lang="en-US" sz="9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389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a:solidFill>
                  <a:schemeClr val="tx1"/>
                </a:solidFill>
                <a:effectLst/>
                <a:latin typeface="Segoe UI Light" pitchFamily="34" charset="0"/>
                <a:ea typeface="+mn-ea"/>
                <a:cs typeface="+mn-cs"/>
              </a:rPr>
              <a:t>PFS and IAM are used to determine when an object needs a new extent allocated</a:t>
            </a:r>
          </a:p>
          <a:p>
            <a:r>
              <a:rPr lang="en-US" sz="8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800" kern="1200" dirty="0">
              <a:solidFill>
                <a:schemeClr val="tx1"/>
              </a:solidFill>
              <a:effectLst/>
              <a:latin typeface="Segoe UI Light" pitchFamily="34" charset="0"/>
              <a:ea typeface="+mn-ea"/>
              <a:cs typeface="+mn-cs"/>
            </a:endParaRP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Heaps have one row in </a:t>
            </a:r>
            <a:r>
              <a:rPr lang="en-US" sz="800" b="1" kern="1200" dirty="0" err="1">
                <a:solidFill>
                  <a:schemeClr val="tx1"/>
                </a:solidFill>
                <a:effectLst/>
                <a:latin typeface="Segoe UI Light" pitchFamily="34" charset="0"/>
                <a:ea typeface="+mn-ea"/>
                <a:cs typeface="+mn-cs"/>
              </a:rPr>
              <a:t>sys.partitions</a:t>
            </a:r>
            <a:r>
              <a:rPr lang="en-US" sz="800" kern="1200" dirty="0">
                <a:solidFill>
                  <a:schemeClr val="tx1"/>
                </a:solidFill>
                <a:effectLst/>
                <a:latin typeface="Segoe UI Light" pitchFamily="34" charset="0"/>
                <a:ea typeface="+mn-ea"/>
                <a:cs typeface="+mn-cs"/>
              </a:rPr>
              <a:t> with </a:t>
            </a:r>
            <a:r>
              <a:rPr lang="en-US" sz="800" b="1" kern="1200" dirty="0" err="1">
                <a:solidFill>
                  <a:schemeClr val="tx1"/>
                </a:solidFill>
                <a:effectLst/>
                <a:latin typeface="Segoe UI Light" pitchFamily="34" charset="0"/>
                <a:ea typeface="+mn-ea"/>
                <a:cs typeface="+mn-cs"/>
              </a:rPr>
              <a:t>index_id</a:t>
            </a:r>
            <a:r>
              <a:rPr lang="en-US" sz="800" kern="1200" dirty="0">
                <a:solidFill>
                  <a:schemeClr val="tx1"/>
                </a:solidFill>
                <a:effectLst/>
                <a:latin typeface="Segoe UI Light" pitchFamily="34" charset="0"/>
                <a:ea typeface="+mn-ea"/>
                <a:cs typeface="+mn-cs"/>
              </a:rPr>
              <a:t> = 0. The </a:t>
            </a:r>
            <a:r>
              <a:rPr lang="en-US" sz="800" b="1" kern="1200" dirty="0" err="1">
                <a:solidFill>
                  <a:schemeClr val="tx1"/>
                </a:solidFill>
                <a:effectLst/>
                <a:latin typeface="Segoe UI Light" pitchFamily="34" charset="0"/>
                <a:ea typeface="+mn-ea"/>
                <a:cs typeface="+mn-cs"/>
              </a:rPr>
              <a:t>first_iam_page</a:t>
            </a:r>
            <a:r>
              <a:rPr lang="en-US" sz="800" kern="1200" dirty="0">
                <a:solidFill>
                  <a:schemeClr val="tx1"/>
                </a:solidFill>
                <a:effectLst/>
                <a:latin typeface="Segoe UI Light" pitchFamily="34" charset="0"/>
                <a:ea typeface="+mn-ea"/>
                <a:cs typeface="+mn-cs"/>
              </a:rPr>
              <a:t> column in </a:t>
            </a:r>
            <a:r>
              <a:rPr lang="en-US" sz="800" b="1" kern="1200" dirty="0" err="1">
                <a:solidFill>
                  <a:schemeClr val="tx1"/>
                </a:solidFill>
                <a:effectLst/>
                <a:latin typeface="Segoe UI Light" pitchFamily="34" charset="0"/>
                <a:ea typeface="+mn-ea"/>
                <a:cs typeface="+mn-cs"/>
              </a:rPr>
              <a:t>sys.system_internals_allocation_units</a:t>
            </a:r>
            <a:r>
              <a:rPr lang="en-US" sz="8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831456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0432023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82893873"/>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77160235"/>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9118191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08892887"/>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89330308"/>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5305279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5123358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3580905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14633175"/>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64880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7321907"/>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5082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151999573"/>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785279295"/>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50622910"/>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1753552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53686086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876077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68643489"/>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038761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36962960"/>
      </p:ext>
    </p:extLst>
  </p:cSld>
  <p:clrMapOvr>
    <a:masterClrMapping/>
  </p:clrMapOvr>
  <p:hf sldNum="0" hdr="0" ft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7830158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47284195"/>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1932827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21848576"/>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61600035"/>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111104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58651086"/>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56603267"/>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5568002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6286265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7328659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20051118"/>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519630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166741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946502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68339260"/>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9750519"/>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803241"/>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805474"/>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108578"/>
      </p:ext>
    </p:extLst>
  </p:cSld>
  <p:clrMapOvr>
    <a:masterClrMapping/>
  </p:clrMapOvr>
  <p:hf sldNum="0" hdr="0" ft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0696165"/>
      </p:ext>
    </p:extLst>
  </p:cSld>
  <p:clrMapOvr>
    <a:masterClrMapping/>
  </p:clrMapOvr>
  <p:hf sldNum="0"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09756477"/>
      </p:ext>
    </p:extLst>
  </p:cSld>
  <p:clrMapOvr>
    <a:masterClrMapping/>
  </p:clrMapOvr>
  <p:hf sldNum="0" hdr="0" ft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32915957"/>
      </p:ext>
    </p:extLst>
  </p:cSld>
  <p:clrMapOvr>
    <a:masterClrMapping/>
  </p:clrMapOvr>
  <p:hf sldNum="0" hdr="0" ft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63182116"/>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70199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5790459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5540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837005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2232352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069289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4133424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88513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59835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3625263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76814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9603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706866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tags" Target="../tags/tag2.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image" Target="../media/image7.emf"/><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tags" Target="../tags/tag3.xml"/><Relationship Id="rId8" Type="http://schemas.openxmlformats.org/officeDocument/2006/relationships/slideLayout" Target="../slideLayouts/slideLayout16.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tags" Target="../tags/tag1.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1" Type="http://schemas.openxmlformats.org/officeDocument/2006/relationships/slideLayout" Target="../slideLayouts/slideLayout9.xml"/><Relationship Id="rId6"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heme" Target="../theme/theme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56" r:id="rId2"/>
    <p:sldLayoutId id="2147485357" r:id="rId3"/>
    <p:sldLayoutId id="2147485358" r:id="rId4"/>
    <p:sldLayoutId id="2147485301" r:id="rId5"/>
    <p:sldLayoutId id="2147485367" r:id="rId6"/>
    <p:sldLayoutId id="2147485369" r:id="rId7"/>
    <p:sldLayoutId id="2147485370"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6885291"/>
      </p:ext>
    </p:extLst>
  </p:cSld>
  <p:clrMap bg1="lt1" tx1="dk1" bg2="lt2" tx2="dk2" accent1="accent1" accent2="accent2" accent3="accent3" accent4="accent4" accent5="accent5" accent6="accent6" hlink="hlink" folHlink="folHlink"/>
  <p:sldLayoutIdLst>
    <p:sldLayoutId id="2147485372" r:id="rId1"/>
    <p:sldLayoutId id="2147485373" r:id="rId2"/>
    <p:sldLayoutId id="2147485374" r:id="rId3"/>
    <p:sldLayoutId id="2147485375" r:id="rId4"/>
    <p:sldLayoutId id="2147485376" r:id="rId5"/>
    <p:sldLayoutId id="2147485377" r:id="rId6"/>
    <p:sldLayoutId id="2147485378" r:id="rId7"/>
    <p:sldLayoutId id="2147485379" r:id="rId8"/>
    <p:sldLayoutId id="2147485380" r:id="rId9"/>
    <p:sldLayoutId id="2147485381" r:id="rId10"/>
    <p:sldLayoutId id="2147485382" r:id="rId11"/>
    <p:sldLayoutId id="2147485383" r:id="rId12"/>
    <p:sldLayoutId id="2147485384" r:id="rId13"/>
    <p:sldLayoutId id="2147485385" r:id="rId14"/>
    <p:sldLayoutId id="2147485386" r:id="rId15"/>
    <p:sldLayoutId id="2147485387" r:id="rId16"/>
    <p:sldLayoutId id="2147485388" r:id="rId17"/>
    <p:sldLayoutId id="2147485389" r:id="rId18"/>
    <p:sldLayoutId id="2147485390" r:id="rId19"/>
    <p:sldLayoutId id="2147485391" r:id="rId20"/>
    <p:sldLayoutId id="2147485392" r:id="rId21"/>
    <p:sldLayoutId id="2147485393" r:id="rId22"/>
    <p:sldLayoutId id="2147485394" r:id="rId23"/>
    <p:sldLayoutId id="2147485395" r:id="rId24"/>
    <p:sldLayoutId id="2147485396" r:id="rId25"/>
    <p:sldLayoutId id="2147485397" r:id="rId26"/>
    <p:sldLayoutId id="2147485398" r:id="rId27"/>
    <p:sldLayoutId id="2147485399" r:id="rId28"/>
    <p:sldLayoutId id="2147485400" r:id="rId29"/>
    <p:sldLayoutId id="2147485401" r:id="rId30"/>
    <p:sldLayoutId id="2147485402" r:id="rId31"/>
    <p:sldLayoutId id="2147485403" r:id="rId32"/>
    <p:sldLayoutId id="2147485404" r:id="rId33"/>
    <p:sldLayoutId id="2147485405" r:id="rId34"/>
    <p:sldLayoutId id="2147485406" r:id="rId35"/>
    <p:sldLayoutId id="2147485407" r:id="rId36"/>
    <p:sldLayoutId id="2147485408" r:id="rId37"/>
    <p:sldLayoutId id="2147485409" r:id="rId38"/>
    <p:sldLayoutId id="2147485410" r:id="rId39"/>
    <p:sldLayoutId id="2147485411" r:id="rId40"/>
    <p:sldLayoutId id="2147485412" r:id="rId41"/>
    <p:sldLayoutId id="2147485413" r:id="rId42"/>
    <p:sldLayoutId id="2147485414" r:id="rId43"/>
    <p:sldLayoutId id="2147485415"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960883342"/>
      </p:ext>
    </p:extLst>
  </p:cSld>
  <p:clrMap bg1="lt1" tx1="dk1" bg2="lt2" tx2="dk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7.xml"/><Relationship Id="rId7" Type="http://schemas.openxmlformats.org/officeDocument/2006/relationships/diagramColors" Target="../diagrams/colors7.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8.xml"/><Relationship Id="rId1" Type="http://schemas.openxmlformats.org/officeDocument/2006/relationships/tags" Target="../tags/tag6.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608754"/>
            <a:ext cx="5199473" cy="886397"/>
          </a:xfrm>
        </p:spPr>
        <p:txBody>
          <a:bodyPr/>
          <a:lstStyle/>
          <a:p>
            <a:r>
              <a:rPr lang="en-US" dirty="0"/>
              <a:t>Allocation Units</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C0A7B-81E0-4AD6-8CB1-79618B186971}"/>
              </a:ext>
            </a:extLst>
          </p:cNvPr>
          <p:cNvSpPr>
            <a:spLocks noGrp="1"/>
          </p:cNvSpPr>
          <p:nvPr>
            <p:ph type="title"/>
          </p:nvPr>
        </p:nvSpPr>
        <p:spPr/>
        <p:txBody>
          <a:bodyPr/>
          <a:lstStyle/>
          <a:p>
            <a:r>
              <a:rPr lang="en-US" dirty="0"/>
              <a:t>New Dynamic Management Functions</a:t>
            </a:r>
          </a:p>
        </p:txBody>
      </p:sp>
      <p:graphicFrame>
        <p:nvGraphicFramePr>
          <p:cNvPr id="5" name="Content Placeholder 4">
            <a:extLst>
              <a:ext uri="{FF2B5EF4-FFF2-40B4-BE49-F238E27FC236}">
                <a16:creationId xmlns:a16="http://schemas.microsoft.com/office/drawing/2014/main" id="{DC4DAECB-707F-EBAB-DDC2-AC5EE2CCA9BF}"/>
              </a:ext>
            </a:extLst>
          </p:cNvPr>
          <p:cNvGraphicFramePr>
            <a:graphicFrameLocks noGrp="1"/>
          </p:cNvGraphicFramePr>
          <p:nvPr>
            <p:ph sz="quarter" idx="13"/>
            <p:extLst>
              <p:ext uri="{D42A27DB-BD31-4B8C-83A1-F6EECF244321}">
                <p14:modId xmlns:p14="http://schemas.microsoft.com/office/powerpoint/2010/main" val="1292810124"/>
              </p:ext>
            </p:extLst>
          </p:nvPr>
        </p:nvGraphicFramePr>
        <p:xfrm>
          <a:off x="655638" y="1233627"/>
          <a:ext cx="10880726" cy="24098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8458B75F-3C8C-1B00-2667-26F5FDEB301D}"/>
              </a:ext>
            </a:extLst>
          </p:cNvPr>
          <p:cNvSpPr txBox="1"/>
          <p:nvPr/>
        </p:nvSpPr>
        <p:spPr>
          <a:xfrm>
            <a:off x="1101687" y="3996223"/>
            <a:ext cx="10245686" cy="1754326"/>
          </a:xfrm>
          <a:prstGeom prst="rect">
            <a:avLst/>
          </a:prstGeom>
          <a:solidFill>
            <a:schemeClr val="bg2"/>
          </a:solidFill>
          <a:ln>
            <a:solidFill>
              <a:srgbClr val="0070C0"/>
            </a:solidFill>
          </a:ln>
        </p:spPr>
        <p:txBody>
          <a:bodyPr wrap="square">
            <a:spAutoFit/>
          </a:bodyPr>
          <a:lstStyle/>
          <a:p>
            <a:r>
              <a:rPr lang="en-US" sz="1800" dirty="0">
                <a:solidFill>
                  <a:srgbClr val="008000"/>
                </a:solidFill>
                <a:latin typeface="Consolas" panose="020B0609020204030204" pitchFamily="49" charset="0"/>
              </a:rPr>
              <a:t>--New in SQL Server 2016</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3"/>
                </a:solidFill>
                <a:latin typeface="Consolas" panose="020B0609020204030204" pitchFamily="49" charset="0"/>
              </a:rPr>
              <a:t>sys.dm_db_database_page_allocations</a:t>
            </a:r>
            <a:endParaRPr lang="en-US" sz="1800" dirty="0">
              <a:solidFill>
                <a:schemeClr val="accent3"/>
              </a:solidFill>
              <a:latin typeface="Consolas" panose="020B0609020204030204" pitchFamily="49" charset="0"/>
            </a:endParaRPr>
          </a:p>
          <a:p>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FF0000"/>
                </a:solidFill>
                <a:latin typeface="Consolas" panose="020B0609020204030204" pitchFamily="49" charset="0"/>
              </a:rPr>
              <a:t>'Accounting.BankAccount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LIMITED'</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New in SQL Server 2019</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chemeClr val="accent3"/>
                </a:solidFill>
                <a:latin typeface="Consolas" panose="020B0609020204030204" pitchFamily="49" charset="0"/>
              </a:rPr>
              <a:t>sys.dm_db_page_info</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336</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Detailed'</a:t>
            </a:r>
            <a:r>
              <a:rPr lang="en-US" sz="1800" dirty="0">
                <a:solidFill>
                  <a:srgbClr val="808080"/>
                </a:solidFill>
                <a:latin typeface="Consolas" panose="020B0609020204030204" pitchFamily="49" charset="0"/>
              </a:rPr>
              <a:t>)</a:t>
            </a:r>
            <a:endParaRPr lang="en-US" dirty="0"/>
          </a:p>
        </p:txBody>
      </p:sp>
    </p:spTree>
    <p:extLst>
      <p:ext uri="{BB962C8B-B14F-4D97-AF65-F5344CB8AC3E}">
        <p14:creationId xmlns:p14="http://schemas.microsoft.com/office/powerpoint/2010/main" val="3151014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a:t>
            </a:r>
          </a:p>
        </p:txBody>
      </p:sp>
      <p:graphicFrame>
        <p:nvGraphicFramePr>
          <p:cNvPr id="3" name="Content Placeholder 2">
            <a:extLst>
              <a:ext uri="{FF2B5EF4-FFF2-40B4-BE49-F238E27FC236}">
                <a16:creationId xmlns:a16="http://schemas.microsoft.com/office/drawing/2014/main" id="{8D7A899E-D7F2-9D40-1E32-DC1496C7FB8B}"/>
              </a:ext>
            </a:extLst>
          </p:cNvPr>
          <p:cNvGraphicFramePr>
            <a:graphicFrameLocks noGrp="1"/>
          </p:cNvGraphicFramePr>
          <p:nvPr>
            <p:ph sz="quarter" idx="13"/>
            <p:extLst>
              <p:ext uri="{D42A27DB-BD31-4B8C-83A1-F6EECF244321}">
                <p14:modId xmlns:p14="http://schemas.microsoft.com/office/powerpoint/2010/main" val="2953999195"/>
              </p:ext>
            </p:extLst>
          </p:nvPr>
        </p:nvGraphicFramePr>
        <p:xfrm>
          <a:off x="452232" y="1019175"/>
          <a:ext cx="10880726" cy="38848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a:extLst>
              <a:ext uri="{FF2B5EF4-FFF2-40B4-BE49-F238E27FC236}">
                <a16:creationId xmlns:a16="http://schemas.microsoft.com/office/drawing/2014/main" id="{51ADF6DC-D03B-4CE8-921F-59147DE93FA8}"/>
              </a:ext>
            </a:extLst>
          </p:cNvPr>
          <p:cNvPicPr>
            <a:picLocks noChangeAspect="1"/>
          </p:cNvPicPr>
          <p:nvPr/>
        </p:nvPicPr>
        <p:blipFill>
          <a:blip r:embed="rId8"/>
          <a:stretch>
            <a:fillRect/>
          </a:stretch>
        </p:blipFill>
        <p:spPr>
          <a:xfrm>
            <a:off x="6404443" y="4314339"/>
            <a:ext cx="4726610" cy="2135418"/>
          </a:xfrm>
          <a:prstGeom prst="rect">
            <a:avLst/>
          </a:prstGeom>
        </p:spPr>
      </p:pic>
    </p:spTree>
    <p:extLst>
      <p:ext uri="{BB962C8B-B14F-4D97-AF65-F5344CB8AC3E}">
        <p14:creationId xmlns:p14="http://schemas.microsoft.com/office/powerpoint/2010/main" val="477690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456937">
              <a:lnSpc>
                <a:spcPts val="3500"/>
              </a:lnSpc>
            </a:pPr>
            <a:r>
              <a:rPr lang="en-US" sz="3600" spc="0" dirty="0">
                <a:ln>
                  <a:noFill/>
                </a:ln>
                <a:solidFill>
                  <a:srgbClr val="44546A"/>
                </a:solidFill>
                <a:ea typeface="+mj-ea"/>
                <a:cs typeface="Segoe UI Light"/>
              </a:rPr>
              <a:t>The Role of Allocation Pages in Object Allocation</a:t>
            </a:r>
          </a:p>
        </p:txBody>
      </p:sp>
      <p:graphicFrame>
        <p:nvGraphicFramePr>
          <p:cNvPr id="5" name="Content Placeholder 5"/>
          <p:cNvGraphicFramePr>
            <a:graphicFrameLocks/>
          </p:cNvGraphicFramePr>
          <p:nvPr>
            <p:extLst>
              <p:ext uri="{D42A27DB-BD31-4B8C-83A1-F6EECF244321}">
                <p14:modId xmlns:p14="http://schemas.microsoft.com/office/powerpoint/2010/main" val="1949566985"/>
              </p:ext>
            </p:extLst>
          </p:nvPr>
        </p:nvGraphicFramePr>
        <p:xfrm>
          <a:off x="570653" y="889491"/>
          <a:ext cx="11050695" cy="55193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873759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8096-EFAF-4F0A-9A03-DAA18150F937}"/>
              </a:ext>
            </a:extLst>
          </p:cNvPr>
          <p:cNvSpPr>
            <a:spLocks noGrp="1"/>
          </p:cNvSpPr>
          <p:nvPr>
            <p:ph type="title"/>
          </p:nvPr>
        </p:nvSpPr>
        <p:spPr/>
        <p:txBody>
          <a:bodyPr/>
          <a:lstStyle/>
          <a:p>
            <a:r>
              <a:rPr lang="en-US" dirty="0"/>
              <a:t>Allocation objects</a:t>
            </a:r>
          </a:p>
        </p:txBody>
      </p:sp>
      <p:graphicFrame>
        <p:nvGraphicFramePr>
          <p:cNvPr id="5" name="Content Placeholder 4">
            <a:extLst>
              <a:ext uri="{FF2B5EF4-FFF2-40B4-BE49-F238E27FC236}">
                <a16:creationId xmlns:a16="http://schemas.microsoft.com/office/drawing/2014/main" id="{FD07C3D9-32E8-4A8D-BBB5-CAF64E36BFD8}"/>
              </a:ext>
            </a:extLst>
          </p:cNvPr>
          <p:cNvGraphicFramePr>
            <a:graphicFrameLocks noGrp="1"/>
          </p:cNvGraphicFramePr>
          <p:nvPr>
            <p:ph sz="quarter" idx="13"/>
            <p:extLst>
              <p:ext uri="{D42A27DB-BD31-4B8C-83A1-F6EECF244321}">
                <p14:modId xmlns:p14="http://schemas.microsoft.com/office/powerpoint/2010/main" val="2275622507"/>
              </p:ext>
            </p:extLst>
          </p:nvPr>
        </p:nvGraphicFramePr>
        <p:xfrm>
          <a:off x="655638" y="1181100"/>
          <a:ext cx="10880725" cy="40138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AFCC59C7-4FAE-47C2-9722-E61138D159A7}"/>
              </a:ext>
            </a:extLst>
          </p:cNvPr>
          <p:cNvPicPr>
            <a:picLocks noChangeAspect="1"/>
          </p:cNvPicPr>
          <p:nvPr/>
        </p:nvPicPr>
        <p:blipFill>
          <a:blip r:embed="rId8"/>
          <a:stretch>
            <a:fillRect/>
          </a:stretch>
        </p:blipFill>
        <p:spPr>
          <a:xfrm>
            <a:off x="2704142" y="5459514"/>
            <a:ext cx="6783716" cy="1121989"/>
          </a:xfrm>
          <a:prstGeom prst="rect">
            <a:avLst/>
          </a:prstGeom>
        </p:spPr>
      </p:pic>
    </p:spTree>
    <p:extLst>
      <p:ext uri="{BB962C8B-B14F-4D97-AF65-F5344CB8AC3E}">
        <p14:creationId xmlns:p14="http://schemas.microsoft.com/office/powerpoint/2010/main" val="4019356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61D67-A463-43BA-8449-EB2E0ACE2C31}"/>
              </a:ext>
            </a:extLst>
          </p:cNvPr>
          <p:cNvSpPr>
            <a:spLocks noGrp="1"/>
          </p:cNvSpPr>
          <p:nvPr>
            <p:ph type="title"/>
          </p:nvPr>
        </p:nvSpPr>
        <p:spPr/>
        <p:txBody>
          <a:bodyPr/>
          <a:lstStyle/>
          <a:p>
            <a:r>
              <a:rPr lang="en-US" dirty="0"/>
              <a:t>Database File page layout</a:t>
            </a:r>
          </a:p>
        </p:txBody>
      </p:sp>
      <p:graphicFrame>
        <p:nvGraphicFramePr>
          <p:cNvPr id="5" name="Table 4">
            <a:extLst>
              <a:ext uri="{FF2B5EF4-FFF2-40B4-BE49-F238E27FC236}">
                <a16:creationId xmlns:a16="http://schemas.microsoft.com/office/drawing/2014/main" id="{1C6A2CE6-B3C5-4112-8DF3-F608BD55F582}"/>
              </a:ext>
            </a:extLst>
          </p:cNvPr>
          <p:cNvGraphicFramePr>
            <a:graphicFrameLocks noGrp="1"/>
          </p:cNvGraphicFramePr>
          <p:nvPr/>
        </p:nvGraphicFramePr>
        <p:xfrm>
          <a:off x="1401310" y="1723012"/>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6" name="Rounded Rectangle 72">
            <a:extLst>
              <a:ext uri="{FF2B5EF4-FFF2-40B4-BE49-F238E27FC236}">
                <a16:creationId xmlns:a16="http://schemas.microsoft.com/office/drawing/2014/main" id="{A28BFD51-2AC6-47C7-A73C-FA75CAE1A2BE}"/>
              </a:ext>
            </a:extLst>
          </p:cNvPr>
          <p:cNvSpPr/>
          <p:nvPr/>
        </p:nvSpPr>
        <p:spPr>
          <a:xfrm>
            <a:off x="2468111" y="2088150"/>
            <a:ext cx="1273629" cy="369332"/>
          </a:xfrm>
          <a:prstGeom prst="round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CE46CDA2-3218-40AC-94A4-C0647161DE5E}"/>
              </a:ext>
            </a:extLst>
          </p:cNvPr>
          <p:cNvSpPr txBox="1"/>
          <p:nvPr/>
        </p:nvSpPr>
        <p:spPr>
          <a:xfrm>
            <a:off x="1401310" y="1321023"/>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1.mdf</a:t>
            </a:r>
          </a:p>
        </p:txBody>
      </p:sp>
      <p:sp>
        <p:nvSpPr>
          <p:cNvPr id="8" name="TextBox 7">
            <a:extLst>
              <a:ext uri="{FF2B5EF4-FFF2-40B4-BE49-F238E27FC236}">
                <a16:creationId xmlns:a16="http://schemas.microsoft.com/office/drawing/2014/main" id="{5D4C0554-ECE6-47D6-A8D2-F598B4F0AF0A}"/>
              </a:ext>
            </a:extLst>
          </p:cNvPr>
          <p:cNvSpPr txBox="1"/>
          <p:nvPr/>
        </p:nvSpPr>
        <p:spPr>
          <a:xfrm>
            <a:off x="2468110" y="1718818"/>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Header</a:t>
            </a:r>
          </a:p>
        </p:txBody>
      </p:sp>
      <p:sp>
        <p:nvSpPr>
          <p:cNvPr id="9" name="TextBox 8">
            <a:extLst>
              <a:ext uri="{FF2B5EF4-FFF2-40B4-BE49-F238E27FC236}">
                <a16:creationId xmlns:a16="http://schemas.microsoft.com/office/drawing/2014/main" id="{4B9938E2-B9E0-4512-8721-A1BF05EC5846}"/>
              </a:ext>
            </a:extLst>
          </p:cNvPr>
          <p:cNvSpPr txBox="1"/>
          <p:nvPr/>
        </p:nvSpPr>
        <p:spPr>
          <a:xfrm>
            <a:off x="2468110" y="2457482"/>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0" name="TextBox 9">
            <a:extLst>
              <a:ext uri="{FF2B5EF4-FFF2-40B4-BE49-F238E27FC236}">
                <a16:creationId xmlns:a16="http://schemas.microsoft.com/office/drawing/2014/main" id="{B22F8EC4-2719-4049-89D2-302B50052F15}"/>
              </a:ext>
            </a:extLst>
          </p:cNvPr>
          <p:cNvSpPr txBox="1"/>
          <p:nvPr/>
        </p:nvSpPr>
        <p:spPr>
          <a:xfrm>
            <a:off x="2468110" y="2088150"/>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1" name="TextBox 10">
            <a:extLst>
              <a:ext uri="{FF2B5EF4-FFF2-40B4-BE49-F238E27FC236}">
                <a16:creationId xmlns:a16="http://schemas.microsoft.com/office/drawing/2014/main" id="{4D49CB41-447D-4C48-994F-D342AB6F72EF}"/>
              </a:ext>
            </a:extLst>
          </p:cNvPr>
          <p:cNvSpPr txBox="1"/>
          <p:nvPr/>
        </p:nvSpPr>
        <p:spPr>
          <a:xfrm>
            <a:off x="2468110" y="283194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2" name="TextBox 11">
            <a:extLst>
              <a:ext uri="{FF2B5EF4-FFF2-40B4-BE49-F238E27FC236}">
                <a16:creationId xmlns:a16="http://schemas.microsoft.com/office/drawing/2014/main" id="{B0FECDD6-8553-41B3-BF35-AD48813C9BAA}"/>
              </a:ext>
            </a:extLst>
          </p:cNvPr>
          <p:cNvSpPr txBox="1"/>
          <p:nvPr/>
        </p:nvSpPr>
        <p:spPr>
          <a:xfrm>
            <a:off x="2468111" y="3227456"/>
            <a:ext cx="1273629" cy="646331"/>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IAM/Data /Index/etc.</a:t>
            </a:r>
          </a:p>
        </p:txBody>
      </p:sp>
      <p:sp>
        <p:nvSpPr>
          <p:cNvPr id="13" name="TextBox 12">
            <a:extLst>
              <a:ext uri="{FF2B5EF4-FFF2-40B4-BE49-F238E27FC236}">
                <a16:creationId xmlns:a16="http://schemas.microsoft.com/office/drawing/2014/main" id="{7B78F416-3286-411B-AA53-363CCCBBF0BD}"/>
              </a:ext>
            </a:extLst>
          </p:cNvPr>
          <p:cNvSpPr txBox="1"/>
          <p:nvPr/>
        </p:nvSpPr>
        <p:spPr>
          <a:xfrm>
            <a:off x="2468110" y="3923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4" name="TextBox 13">
            <a:extLst>
              <a:ext uri="{FF2B5EF4-FFF2-40B4-BE49-F238E27FC236}">
                <a16:creationId xmlns:a16="http://schemas.microsoft.com/office/drawing/2014/main" id="{53C48E06-F927-45E9-BEB1-43324A860659}"/>
              </a:ext>
            </a:extLst>
          </p:cNvPr>
          <p:cNvSpPr txBox="1"/>
          <p:nvPr/>
        </p:nvSpPr>
        <p:spPr>
          <a:xfrm>
            <a:off x="2468111" y="4369024"/>
            <a:ext cx="1273629" cy="523220"/>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rPr>
              <a:t>IAM/Data /Index/others</a:t>
            </a:r>
          </a:p>
        </p:txBody>
      </p:sp>
      <p:sp>
        <p:nvSpPr>
          <p:cNvPr id="15" name="TextBox 14">
            <a:extLst>
              <a:ext uri="{FF2B5EF4-FFF2-40B4-BE49-F238E27FC236}">
                <a16:creationId xmlns:a16="http://schemas.microsoft.com/office/drawing/2014/main" id="{9886952C-36D4-43F6-851F-8D4DCF098EA3}"/>
              </a:ext>
            </a:extLst>
          </p:cNvPr>
          <p:cNvSpPr txBox="1"/>
          <p:nvPr/>
        </p:nvSpPr>
        <p:spPr>
          <a:xfrm>
            <a:off x="2457224" y="5066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6" name="TextBox 15">
            <a:extLst>
              <a:ext uri="{FF2B5EF4-FFF2-40B4-BE49-F238E27FC236}">
                <a16:creationId xmlns:a16="http://schemas.microsoft.com/office/drawing/2014/main" id="{507280C5-6C11-4E62-9AF0-DAD2C83D1627}"/>
              </a:ext>
            </a:extLst>
          </p:cNvPr>
          <p:cNvSpPr txBox="1"/>
          <p:nvPr/>
        </p:nvSpPr>
        <p:spPr>
          <a:xfrm>
            <a:off x="2457224" y="5435823"/>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7" name="Right Brace 16">
            <a:extLst>
              <a:ext uri="{FF2B5EF4-FFF2-40B4-BE49-F238E27FC236}">
                <a16:creationId xmlns:a16="http://schemas.microsoft.com/office/drawing/2014/main" id="{1E05067F-F2A2-4F61-A8CB-718B2C413B5F}"/>
              </a:ext>
            </a:extLst>
          </p:cNvPr>
          <p:cNvSpPr/>
          <p:nvPr/>
        </p:nvSpPr>
        <p:spPr>
          <a:xfrm>
            <a:off x="3763510" y="2457483"/>
            <a:ext cx="457200" cy="1466009"/>
          </a:xfrm>
          <a:prstGeom prst="rightBrace">
            <a:avLst>
              <a:gd name="adj1" fmla="val 8333"/>
              <a:gd name="adj2" fmla="val 48020"/>
            </a:avLst>
          </a:prstGeom>
          <a:noFill/>
          <a:ln w="25400" cap="flat" cmpd="sng" algn="ctr">
            <a:solidFill>
              <a:srgbClr val="129038"/>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889B0EA-1F5D-44C0-8A1B-F49E883396CC}"/>
              </a:ext>
            </a:extLst>
          </p:cNvPr>
          <p:cNvSpPr txBox="1"/>
          <p:nvPr/>
        </p:nvSpPr>
        <p:spPr>
          <a:xfrm>
            <a:off x="4220710" y="3016608"/>
            <a:ext cx="1905000" cy="646331"/>
          </a:xfrm>
          <a:prstGeom prst="rect">
            <a:avLst/>
          </a:prstGeom>
          <a:solidFill>
            <a:sysClr val="window" lastClr="FFFFFF"/>
          </a:solidFill>
          <a:ln w="25400" cap="flat" cmpd="sng" algn="ctr">
            <a:solidFill>
              <a:srgbClr val="129038"/>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19" name="Right Brace 18">
            <a:extLst>
              <a:ext uri="{FF2B5EF4-FFF2-40B4-BE49-F238E27FC236}">
                <a16:creationId xmlns:a16="http://schemas.microsoft.com/office/drawing/2014/main" id="{82B753F8-5D03-4C1C-BB58-85DDC76F72BF}"/>
              </a:ext>
            </a:extLst>
          </p:cNvPr>
          <p:cNvSpPr/>
          <p:nvPr/>
        </p:nvSpPr>
        <p:spPr>
          <a:xfrm>
            <a:off x="3763510" y="2817615"/>
            <a:ext cx="457200" cy="2248876"/>
          </a:xfrm>
          <a:prstGeom prst="rightBrace">
            <a:avLst>
              <a:gd name="adj1" fmla="val 8333"/>
              <a:gd name="adj2" fmla="val 48020"/>
            </a:avLst>
          </a:prstGeom>
          <a:no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0" name="Right Brace 19">
            <a:extLst>
              <a:ext uri="{FF2B5EF4-FFF2-40B4-BE49-F238E27FC236}">
                <a16:creationId xmlns:a16="http://schemas.microsoft.com/office/drawing/2014/main" id="{D66C67C5-A15F-4184-875D-7D8631723D38}"/>
              </a:ext>
            </a:extLst>
          </p:cNvPr>
          <p:cNvSpPr/>
          <p:nvPr/>
        </p:nvSpPr>
        <p:spPr>
          <a:xfrm>
            <a:off x="3785281" y="3205919"/>
            <a:ext cx="457200" cy="2248876"/>
          </a:xfrm>
          <a:prstGeom prst="rightBrace">
            <a:avLst>
              <a:gd name="adj1" fmla="val 8333"/>
              <a:gd name="adj2" fmla="val 48020"/>
            </a:avLst>
          </a:prstGeom>
          <a:noFill/>
          <a:ln w="25400" cap="flat" cmpd="sng" algn="ctr">
            <a:solidFill>
              <a:srgbClr val="0E715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nvGraphicFramePr>
        <p:xfrm>
          <a:off x="7971291" y="1543538"/>
          <a:ext cx="2362200" cy="442468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7971291" y="1156454"/>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2.ndf</a:t>
            </a:r>
          </a:p>
        </p:txBody>
      </p:sp>
      <p:sp>
        <p:nvSpPr>
          <p:cNvPr id="23" name="TextBox 22">
            <a:extLst>
              <a:ext uri="{FF2B5EF4-FFF2-40B4-BE49-F238E27FC236}">
                <a16:creationId xmlns:a16="http://schemas.microsoft.com/office/drawing/2014/main" id="{523ABDFA-4E0E-44DD-83C5-F65B6D34CB04}"/>
              </a:ext>
            </a:extLst>
          </p:cNvPr>
          <p:cNvSpPr txBox="1"/>
          <p:nvPr/>
        </p:nvSpPr>
        <p:spPr>
          <a:xfrm>
            <a:off x="4220710" y="3668053"/>
            <a:ext cx="2438400" cy="923330"/>
          </a:xfrm>
          <a:prstGeom prst="rect">
            <a:avLst/>
          </a:prstGeom>
          <a:solidFill>
            <a:sysClr val="window" lastClr="FFFFFF"/>
          </a:solidFill>
          <a:ln w="25400" cap="flat" cmpd="sng" algn="ctr">
            <a:solidFill>
              <a:srgbClr val="15AEE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Uniform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4" name="TextBox 23">
            <a:extLst>
              <a:ext uri="{FF2B5EF4-FFF2-40B4-BE49-F238E27FC236}">
                <a16:creationId xmlns:a16="http://schemas.microsoft.com/office/drawing/2014/main" id="{34741F57-93FC-4537-8A09-20EC5A1C7332}"/>
              </a:ext>
            </a:extLst>
          </p:cNvPr>
          <p:cNvSpPr txBox="1"/>
          <p:nvPr/>
        </p:nvSpPr>
        <p:spPr>
          <a:xfrm>
            <a:off x="4242481" y="4056358"/>
            <a:ext cx="2438400" cy="1200329"/>
          </a:xfrm>
          <a:prstGeom prst="rect">
            <a:avLst/>
          </a:prstGeom>
          <a:solidFill>
            <a:sysClr val="window" lastClr="FFFFFF"/>
          </a:solidFill>
          <a:ln w="25400" cap="flat" cmpd="sng" algn="ctr">
            <a:solidFill>
              <a:srgbClr val="0E715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Shared 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Mixed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5" name="Rectangle 24">
            <a:extLst>
              <a:ext uri="{FF2B5EF4-FFF2-40B4-BE49-F238E27FC236}">
                <a16:creationId xmlns:a16="http://schemas.microsoft.com/office/drawing/2014/main" id="{A3E2592D-CBBC-45FD-94E8-D632116DB080}"/>
              </a:ext>
            </a:extLst>
          </p:cNvPr>
          <p:cNvSpPr/>
          <p:nvPr/>
        </p:nvSpPr>
        <p:spPr>
          <a:xfrm>
            <a:off x="4547281" y="953533"/>
            <a:ext cx="2133600" cy="928457"/>
          </a:xfrm>
          <a:prstGeom prst="rect">
            <a:avLst/>
          </a:prstGeom>
          <a:solidFill>
            <a:sysClr val="window" lastClr="FFFFFF"/>
          </a:solidFill>
          <a:ln w="25400" cap="flat" cmpd="sng" algn="ctr">
            <a:solidFill>
              <a:srgbClr val="129038"/>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Address is</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DBID:FileID:Page#</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5:1:1</a:t>
            </a:r>
          </a:p>
        </p:txBody>
      </p:sp>
      <p:cxnSp>
        <p:nvCxnSpPr>
          <p:cNvPr id="26" name="Straight Arrow Connector 25">
            <a:extLst>
              <a:ext uri="{FF2B5EF4-FFF2-40B4-BE49-F238E27FC236}">
                <a16:creationId xmlns:a16="http://schemas.microsoft.com/office/drawing/2014/main" id="{3BEF68C5-82B0-43EE-9C13-8DDF8E7F84B7}"/>
              </a:ext>
            </a:extLst>
          </p:cNvPr>
          <p:cNvCxnSpPr>
            <a:stCxn id="10" idx="3"/>
            <a:endCxn id="25" idx="1"/>
          </p:cNvCxnSpPr>
          <p:nvPr/>
        </p:nvCxnSpPr>
        <p:spPr>
          <a:xfrm flipV="1">
            <a:off x="3763510" y="1417762"/>
            <a:ext cx="783771" cy="855054"/>
          </a:xfrm>
          <a:prstGeom prst="straightConnector1">
            <a:avLst/>
          </a:prstGeom>
          <a:noFill/>
          <a:ln w="25400" cap="flat" cmpd="sng" algn="ctr">
            <a:solidFill>
              <a:srgbClr val="0C6126"/>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291468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1+#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0-#ppt_h/2"/>
                                          </p:val>
                                        </p:tav>
                                        <p:tav tm="100000">
                                          <p:val>
                                            <p:strVal val="#ppt_y"/>
                                          </p:val>
                                        </p:tav>
                                      </p:tavLst>
                                    </p:anim>
                                  </p:childTnLst>
                                </p:cTn>
                              </p:par>
                              <p:par>
                                <p:cTn id="33" presetID="1" presetClass="exit" presetSubtype="0" fill="hold" grpId="1" nodeType="withEffect">
                                  <p:stCondLst>
                                    <p:cond delay="0"/>
                                  </p:stCondLst>
                                  <p:childTnLst>
                                    <p:set>
                                      <p:cBhvr>
                                        <p:cTn id="34" dur="1" fill="hold">
                                          <p:stCondLst>
                                            <p:cond delay="0"/>
                                          </p:stCondLst>
                                        </p:cTn>
                                        <p:tgtEl>
                                          <p:spTgt spid="6"/>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26"/>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25"/>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1+#ppt_w/2"/>
                                          </p:val>
                                        </p:tav>
                                        <p:tav tm="100000">
                                          <p:val>
                                            <p:strVal val="#ppt_x"/>
                                          </p:val>
                                        </p:tav>
                                      </p:tavLst>
                                    </p:anim>
                                    <p:anim calcmode="lin" valueType="num">
                                      <p:cBhvr additive="base">
                                        <p:cTn id="4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1+#ppt_w/2"/>
                                          </p:val>
                                        </p:tav>
                                        <p:tav tm="100000">
                                          <p:val>
                                            <p:strVal val="#ppt_x"/>
                                          </p:val>
                                        </p:tav>
                                      </p:tavLst>
                                    </p:anim>
                                    <p:anim calcmode="lin" valueType="num">
                                      <p:cBhvr additive="base">
                                        <p:cTn id="50" dur="500" fill="hold"/>
                                        <p:tgtEl>
                                          <p:spTgt spid="9"/>
                                        </p:tgtEl>
                                        <p:attrNameLst>
                                          <p:attrName>ppt_y</p:attrName>
                                        </p:attrNameLst>
                                      </p:cBhvr>
                                      <p:tavLst>
                                        <p:tav tm="0">
                                          <p:val>
                                            <p:strVal val="#ppt_y"/>
                                          </p:val>
                                        </p:tav>
                                        <p:tav tm="100000">
                                          <p:val>
                                            <p:strVal val="#ppt_y"/>
                                          </p:val>
                                        </p:tav>
                                      </p:tavLst>
                                    </p:anim>
                                  </p:childTnLst>
                                </p:cTn>
                              </p:par>
                              <p:par>
                                <p:cTn id="51" presetID="1" presetClass="exit" presetSubtype="0" fill="hold" grpId="1" nodeType="withEffect">
                                  <p:stCondLst>
                                    <p:cond delay="0"/>
                                  </p:stCondLst>
                                  <p:childTnLst>
                                    <p:set>
                                      <p:cBhvr>
                                        <p:cTn id="52" dur="1" fill="hold">
                                          <p:stCondLst>
                                            <p:cond delay="0"/>
                                          </p:stCondLst>
                                        </p:cTn>
                                        <p:tgtEl>
                                          <p:spTgt spid="1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8"/>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2" presetClass="entr" presetSubtype="1"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additive="base">
                                        <p:cTn id="59" dur="500" fill="hold"/>
                                        <p:tgtEl>
                                          <p:spTgt spid="23"/>
                                        </p:tgtEl>
                                        <p:attrNameLst>
                                          <p:attrName>ppt_x</p:attrName>
                                        </p:attrNameLst>
                                      </p:cBhvr>
                                      <p:tavLst>
                                        <p:tav tm="0">
                                          <p:val>
                                            <p:strVal val="#ppt_x"/>
                                          </p:val>
                                        </p:tav>
                                        <p:tav tm="100000">
                                          <p:val>
                                            <p:strVal val="#ppt_x"/>
                                          </p:val>
                                        </p:tav>
                                      </p:tavLst>
                                    </p:anim>
                                    <p:anim calcmode="lin" valueType="num">
                                      <p:cBhvr additive="base">
                                        <p:cTn id="60" dur="500" fill="hold"/>
                                        <p:tgtEl>
                                          <p:spTgt spid="23"/>
                                        </p:tgtEl>
                                        <p:attrNameLst>
                                          <p:attrName>ppt_y</p:attrName>
                                        </p:attrNameLst>
                                      </p:cBhvr>
                                      <p:tavLst>
                                        <p:tav tm="0">
                                          <p:val>
                                            <p:strVal val="0-#ppt_h/2"/>
                                          </p:val>
                                        </p:tav>
                                        <p:tav tm="100000">
                                          <p:val>
                                            <p:strVal val="#ppt_y"/>
                                          </p:val>
                                        </p:tav>
                                      </p:tavLst>
                                    </p:anim>
                                  </p:childTnLst>
                                </p:cTn>
                              </p:par>
                              <p:par>
                                <p:cTn id="61" presetID="2" presetClass="entr" presetSubtype="1"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additive="base">
                                        <p:cTn id="63" dur="500" fill="hold"/>
                                        <p:tgtEl>
                                          <p:spTgt spid="19"/>
                                        </p:tgtEl>
                                        <p:attrNameLst>
                                          <p:attrName>ppt_x</p:attrName>
                                        </p:attrNameLst>
                                      </p:cBhvr>
                                      <p:tavLst>
                                        <p:tav tm="0">
                                          <p:val>
                                            <p:strVal val="#ppt_x"/>
                                          </p:val>
                                        </p:tav>
                                        <p:tav tm="100000">
                                          <p:val>
                                            <p:strVal val="#ppt_x"/>
                                          </p:val>
                                        </p:tav>
                                      </p:tavLst>
                                    </p:anim>
                                    <p:anim calcmode="lin" valueType="num">
                                      <p:cBhvr additive="base">
                                        <p:cTn id="64"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2" fill="hold" grpId="0" nodeType="click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1+#ppt_w/2"/>
                                          </p:val>
                                        </p:tav>
                                        <p:tav tm="100000">
                                          <p:val>
                                            <p:strVal val="#ppt_x"/>
                                          </p:val>
                                        </p:tav>
                                      </p:tavLst>
                                    </p:anim>
                                    <p:anim calcmode="lin" valueType="num">
                                      <p:cBhvr additive="base">
                                        <p:cTn id="70"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2" fill="hold" grpId="0" nodeType="clickEffect">
                                  <p:stCondLst>
                                    <p:cond delay="0"/>
                                  </p:stCondLst>
                                  <p:childTnLst>
                                    <p:set>
                                      <p:cBhvr>
                                        <p:cTn id="74" dur="1" fill="hold">
                                          <p:stCondLst>
                                            <p:cond delay="0"/>
                                          </p:stCondLst>
                                        </p:cTn>
                                        <p:tgtEl>
                                          <p:spTgt spid="11"/>
                                        </p:tgtEl>
                                        <p:attrNameLst>
                                          <p:attrName>style.visibility</p:attrName>
                                        </p:attrNameLst>
                                      </p:cBhvr>
                                      <p:to>
                                        <p:strVal val="visible"/>
                                      </p:to>
                                    </p:set>
                                    <p:anim calcmode="lin" valueType="num">
                                      <p:cBhvr additive="base">
                                        <p:cTn id="75" dur="500" fill="hold"/>
                                        <p:tgtEl>
                                          <p:spTgt spid="11"/>
                                        </p:tgtEl>
                                        <p:attrNameLst>
                                          <p:attrName>ppt_x</p:attrName>
                                        </p:attrNameLst>
                                      </p:cBhvr>
                                      <p:tavLst>
                                        <p:tav tm="0">
                                          <p:val>
                                            <p:strVal val="1+#ppt_w/2"/>
                                          </p:val>
                                        </p:tav>
                                        <p:tav tm="100000">
                                          <p:val>
                                            <p:strVal val="#ppt_x"/>
                                          </p:val>
                                        </p:tav>
                                      </p:tavLst>
                                    </p:anim>
                                    <p:anim calcmode="lin" valueType="num">
                                      <p:cBhvr additive="base">
                                        <p:cTn id="76" dur="500" fill="hold"/>
                                        <p:tgtEl>
                                          <p:spTgt spid="11"/>
                                        </p:tgtEl>
                                        <p:attrNameLst>
                                          <p:attrName>ppt_y</p:attrName>
                                        </p:attrNameLst>
                                      </p:cBhvr>
                                      <p:tavLst>
                                        <p:tav tm="0">
                                          <p:val>
                                            <p:strVal val="#ppt_y"/>
                                          </p:val>
                                        </p:tav>
                                        <p:tav tm="100000">
                                          <p:val>
                                            <p:strVal val="#ppt_y"/>
                                          </p:val>
                                        </p:tav>
                                      </p:tavLst>
                                    </p:anim>
                                  </p:childTnLst>
                                </p:cTn>
                              </p:par>
                              <p:par>
                                <p:cTn id="77" presetID="1" presetClass="exit" presetSubtype="0" fill="hold" grpId="1" nodeType="withEffect">
                                  <p:stCondLst>
                                    <p:cond delay="0"/>
                                  </p:stCondLst>
                                  <p:childTnLst>
                                    <p:set>
                                      <p:cBhvr>
                                        <p:cTn id="78" dur="1" fill="hold">
                                          <p:stCondLst>
                                            <p:cond delay="0"/>
                                          </p:stCondLst>
                                        </p:cTn>
                                        <p:tgtEl>
                                          <p:spTgt spid="23"/>
                                        </p:tgtEl>
                                        <p:attrNameLst>
                                          <p:attrName>style.visibility</p:attrName>
                                        </p:attrNameLst>
                                      </p:cBhvr>
                                      <p:to>
                                        <p:strVal val="hidden"/>
                                      </p:to>
                                    </p:set>
                                  </p:childTnLst>
                                </p:cTn>
                              </p:par>
                              <p:par>
                                <p:cTn id="79" presetID="1" presetClass="exit" presetSubtype="0" fill="hold" grpId="1"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1"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ppt_x"/>
                                          </p:val>
                                        </p:tav>
                                        <p:tav tm="100000">
                                          <p:val>
                                            <p:strVal val="#ppt_x"/>
                                          </p:val>
                                        </p:tav>
                                      </p:tavLst>
                                    </p:anim>
                                    <p:anim calcmode="lin" valueType="num">
                                      <p:cBhvr additive="base">
                                        <p:cTn id="86" dur="500" fill="hold"/>
                                        <p:tgtEl>
                                          <p:spTgt spid="24"/>
                                        </p:tgtEl>
                                        <p:attrNameLst>
                                          <p:attrName>ppt_y</p:attrName>
                                        </p:attrNameLst>
                                      </p:cBhvr>
                                      <p:tavLst>
                                        <p:tav tm="0">
                                          <p:val>
                                            <p:strVal val="0-#ppt_h/2"/>
                                          </p:val>
                                        </p:tav>
                                        <p:tav tm="100000">
                                          <p:val>
                                            <p:strVal val="#ppt_y"/>
                                          </p:val>
                                        </p:tav>
                                      </p:tavLst>
                                    </p:anim>
                                  </p:childTnLst>
                                </p:cTn>
                              </p:par>
                              <p:par>
                                <p:cTn id="87" presetID="2" presetClass="entr" presetSubtype="1" fill="hold" grpId="0" nodeType="withEffect">
                                  <p:stCondLst>
                                    <p:cond delay="0"/>
                                  </p:stCondLst>
                                  <p:childTnLst>
                                    <p:set>
                                      <p:cBhvr>
                                        <p:cTn id="88" dur="1" fill="hold">
                                          <p:stCondLst>
                                            <p:cond delay="0"/>
                                          </p:stCondLst>
                                        </p:cTn>
                                        <p:tgtEl>
                                          <p:spTgt spid="20"/>
                                        </p:tgtEl>
                                        <p:attrNameLst>
                                          <p:attrName>style.visibility</p:attrName>
                                        </p:attrNameLst>
                                      </p:cBhvr>
                                      <p:to>
                                        <p:strVal val="visible"/>
                                      </p:to>
                                    </p:set>
                                    <p:anim calcmode="lin" valueType="num">
                                      <p:cBhvr additive="base">
                                        <p:cTn id="89" dur="500" fill="hold"/>
                                        <p:tgtEl>
                                          <p:spTgt spid="20"/>
                                        </p:tgtEl>
                                        <p:attrNameLst>
                                          <p:attrName>ppt_x</p:attrName>
                                        </p:attrNameLst>
                                      </p:cBhvr>
                                      <p:tavLst>
                                        <p:tav tm="0">
                                          <p:val>
                                            <p:strVal val="#ppt_x"/>
                                          </p:val>
                                        </p:tav>
                                        <p:tav tm="100000">
                                          <p:val>
                                            <p:strVal val="#ppt_x"/>
                                          </p:val>
                                        </p:tav>
                                      </p:tavLst>
                                    </p:anim>
                                    <p:anim calcmode="lin" valueType="num">
                                      <p:cBhvr additive="base">
                                        <p:cTn id="90"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grpId="0" nodeType="clickEffect">
                                  <p:stCondLst>
                                    <p:cond delay="0"/>
                                  </p:stCondLst>
                                  <p:childTnLst>
                                    <p:set>
                                      <p:cBhvr>
                                        <p:cTn id="94" dur="1" fill="hold">
                                          <p:stCondLst>
                                            <p:cond delay="0"/>
                                          </p:stCondLst>
                                        </p:cTn>
                                        <p:tgtEl>
                                          <p:spTgt spid="16"/>
                                        </p:tgtEl>
                                        <p:attrNameLst>
                                          <p:attrName>style.visibility</p:attrName>
                                        </p:attrNameLst>
                                      </p:cBhvr>
                                      <p:to>
                                        <p:strVal val="visible"/>
                                      </p:to>
                                    </p:set>
                                    <p:anim calcmode="lin" valueType="num">
                                      <p:cBhvr additive="base">
                                        <p:cTn id="95" dur="500" fill="hold"/>
                                        <p:tgtEl>
                                          <p:spTgt spid="16"/>
                                        </p:tgtEl>
                                        <p:attrNameLst>
                                          <p:attrName>ppt_x</p:attrName>
                                        </p:attrNameLst>
                                      </p:cBhvr>
                                      <p:tavLst>
                                        <p:tav tm="0">
                                          <p:val>
                                            <p:strVal val="1+#ppt_w/2"/>
                                          </p:val>
                                        </p:tav>
                                        <p:tav tm="100000">
                                          <p:val>
                                            <p:strVal val="#ppt_x"/>
                                          </p:val>
                                        </p:tav>
                                      </p:tavLst>
                                    </p:anim>
                                    <p:anim calcmode="lin" valueType="num">
                                      <p:cBhvr additive="base">
                                        <p:cTn id="96"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grpId="0" nodeType="click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1+#ppt_w/2"/>
                                          </p:val>
                                        </p:tav>
                                        <p:tav tm="100000">
                                          <p:val>
                                            <p:strVal val="#ppt_x"/>
                                          </p:val>
                                        </p:tav>
                                      </p:tavLst>
                                    </p:anim>
                                    <p:anim calcmode="lin" valueType="num">
                                      <p:cBhvr additive="base">
                                        <p:cTn id="102" dur="500" fill="hold"/>
                                        <p:tgtEl>
                                          <p:spTgt spid="12"/>
                                        </p:tgtEl>
                                        <p:attrNameLst>
                                          <p:attrName>ppt_y</p:attrName>
                                        </p:attrNameLst>
                                      </p:cBhvr>
                                      <p:tavLst>
                                        <p:tav tm="0">
                                          <p:val>
                                            <p:strVal val="#ppt_y"/>
                                          </p:val>
                                        </p:tav>
                                        <p:tav tm="100000">
                                          <p:val>
                                            <p:strVal val="#ppt_y"/>
                                          </p:val>
                                        </p:tav>
                                      </p:tavLst>
                                    </p:anim>
                                  </p:childTnLst>
                                </p:cTn>
                              </p:par>
                              <p:par>
                                <p:cTn id="103" presetID="2" presetClass="entr" presetSubtype="2" fill="hold" grpId="0" nodeType="withEffect">
                                  <p:stCondLst>
                                    <p:cond delay="0"/>
                                  </p:stCondLst>
                                  <p:childTnLst>
                                    <p:set>
                                      <p:cBhvr>
                                        <p:cTn id="104" dur="1" fill="hold">
                                          <p:stCondLst>
                                            <p:cond delay="0"/>
                                          </p:stCondLst>
                                        </p:cTn>
                                        <p:tgtEl>
                                          <p:spTgt spid="14"/>
                                        </p:tgtEl>
                                        <p:attrNameLst>
                                          <p:attrName>style.visibility</p:attrName>
                                        </p:attrNameLst>
                                      </p:cBhvr>
                                      <p:to>
                                        <p:strVal val="visible"/>
                                      </p:to>
                                    </p:set>
                                    <p:anim calcmode="lin" valueType="num">
                                      <p:cBhvr additive="base">
                                        <p:cTn id="105" dur="500" fill="hold"/>
                                        <p:tgtEl>
                                          <p:spTgt spid="14"/>
                                        </p:tgtEl>
                                        <p:attrNameLst>
                                          <p:attrName>ppt_x</p:attrName>
                                        </p:attrNameLst>
                                      </p:cBhvr>
                                      <p:tavLst>
                                        <p:tav tm="0">
                                          <p:val>
                                            <p:strVal val="1+#ppt_w/2"/>
                                          </p:val>
                                        </p:tav>
                                        <p:tav tm="100000">
                                          <p:val>
                                            <p:strVal val="#ppt_x"/>
                                          </p:val>
                                        </p:tav>
                                      </p:tavLst>
                                    </p:anim>
                                    <p:anim calcmode="lin" valueType="num">
                                      <p:cBhvr additive="base">
                                        <p:cTn id="10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2" fill="hold" nodeType="click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 presetClass="entr" presetSubtype="2" fill="hold" grpId="0" nodeType="withEffect">
                                  <p:stCondLst>
                                    <p:cond delay="0"/>
                                  </p:stCondLst>
                                  <p:childTnLst>
                                    <p:set>
                                      <p:cBhvr>
                                        <p:cTn id="114" dur="1" fill="hold">
                                          <p:stCondLst>
                                            <p:cond delay="0"/>
                                          </p:stCondLst>
                                        </p:cTn>
                                        <p:tgtEl>
                                          <p:spTgt spid="22"/>
                                        </p:tgtEl>
                                        <p:attrNameLst>
                                          <p:attrName>style.visibility</p:attrName>
                                        </p:attrNameLst>
                                      </p:cBhvr>
                                      <p:to>
                                        <p:strVal val="visible"/>
                                      </p:to>
                                    </p:set>
                                    <p:anim calcmode="lin" valueType="num">
                                      <p:cBhvr additive="base">
                                        <p:cTn id="115" dur="500" fill="hold"/>
                                        <p:tgtEl>
                                          <p:spTgt spid="22"/>
                                        </p:tgtEl>
                                        <p:attrNameLst>
                                          <p:attrName>ppt_x</p:attrName>
                                        </p:attrNameLst>
                                      </p:cBhvr>
                                      <p:tavLst>
                                        <p:tav tm="0">
                                          <p:val>
                                            <p:strVal val="1+#ppt_w/2"/>
                                          </p:val>
                                        </p:tav>
                                        <p:tav tm="100000">
                                          <p:val>
                                            <p:strVal val="#ppt_x"/>
                                          </p:val>
                                        </p:tav>
                                      </p:tavLst>
                                    </p:anim>
                                    <p:anim calcmode="lin" valueType="num">
                                      <p:cBhvr additive="base">
                                        <p:cTn id="116" dur="500" fill="hold"/>
                                        <p:tgtEl>
                                          <p:spTgt spid="22"/>
                                        </p:tgtEl>
                                        <p:attrNameLst>
                                          <p:attrName>ppt_y</p:attrName>
                                        </p:attrNameLst>
                                      </p:cBhvr>
                                      <p:tavLst>
                                        <p:tav tm="0">
                                          <p:val>
                                            <p:strVal val="#ppt_y"/>
                                          </p:val>
                                        </p:tav>
                                        <p:tav tm="100000">
                                          <p:val>
                                            <p:strVal val="#ppt_y"/>
                                          </p:val>
                                        </p:tav>
                                      </p:tavLst>
                                    </p:anim>
                                  </p:childTnLst>
                                </p:cTn>
                              </p:par>
                              <p:par>
                                <p:cTn id="117" presetID="1" presetClass="exit" presetSubtype="0" fill="hold" grpId="1" nodeType="withEffect">
                                  <p:stCondLst>
                                    <p:cond delay="0"/>
                                  </p:stCondLst>
                                  <p:childTnLst>
                                    <p:set>
                                      <p:cBhvr>
                                        <p:cTn id="118" dur="1" fill="hold">
                                          <p:stCondLst>
                                            <p:cond delay="0"/>
                                          </p:stCondLst>
                                        </p:cTn>
                                        <p:tgtEl>
                                          <p:spTgt spid="24"/>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p:bldP spid="9" grpId="0"/>
      <p:bldP spid="10" grpId="0"/>
      <p:bldP spid="11" grpId="0"/>
      <p:bldP spid="12" grpId="0"/>
      <p:bldP spid="13" grpId="0"/>
      <p:bldP spid="14" grpId="0"/>
      <p:bldP spid="15" grpId="0"/>
      <p:bldP spid="16" grpId="0"/>
      <p:bldP spid="17" grpId="0" animBg="1"/>
      <p:bldP spid="17" grpId="1" animBg="1"/>
      <p:bldP spid="18" grpId="0" animBg="1"/>
      <p:bldP spid="18" grpId="1" animBg="1"/>
      <p:bldP spid="19" grpId="0" animBg="1"/>
      <p:bldP spid="19" grpId="1" animBg="1"/>
      <p:bldP spid="20" grpId="0" animBg="1"/>
      <p:bldP spid="20" grpId="1" animBg="1"/>
      <p:bldP spid="22" grpId="0"/>
      <p:bldP spid="23" grpId="0" animBg="1"/>
      <p:bldP spid="23" grpId="1" animBg="1"/>
      <p:bldP spid="24" grpId="0" animBg="1"/>
      <p:bldP spid="24" grpId="1" animBg="1"/>
      <p:bldP spid="25" grpId="0" animBg="1"/>
      <p:bldP spid="25"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tx1"/>
                </a:solidFill>
              </a:rPr>
              <a:t>Extent Allocation Map Pages</a:t>
            </a:r>
            <a:endParaRPr lang="en-US" dirty="0">
              <a:solidFill>
                <a:schemeClr val="tx1"/>
              </a:solidFill>
            </a:endParaRPr>
          </a:p>
        </p:txBody>
      </p:sp>
      <p:grpSp>
        <p:nvGrpSpPr>
          <p:cNvPr id="13" name="Group 12">
            <a:extLst>
              <a:ext uri="{FF2B5EF4-FFF2-40B4-BE49-F238E27FC236}">
                <a16:creationId xmlns:a16="http://schemas.microsoft.com/office/drawing/2014/main" id="{C6DF341C-6504-A2A0-258A-E6C348CBC0C6}"/>
              </a:ext>
            </a:extLst>
          </p:cNvPr>
          <p:cNvGrpSpPr/>
          <p:nvPr/>
        </p:nvGrpSpPr>
        <p:grpSpPr>
          <a:xfrm>
            <a:off x="6904734" y="1523863"/>
            <a:ext cx="1795153" cy="1018317"/>
            <a:chOff x="6860068" y="1398139"/>
            <a:chExt cx="1795153" cy="1018317"/>
          </a:xfrm>
        </p:grpSpPr>
        <p:sp>
          <p:nvSpPr>
            <p:cNvPr id="45" name="Rectangle 44">
              <a:extLst>
                <a:ext uri="{FF2B5EF4-FFF2-40B4-BE49-F238E27FC236}">
                  <a16:creationId xmlns:a16="http://schemas.microsoft.com/office/drawing/2014/main" id="{E1A3A2A1-52DB-4BD3-9609-7B1E79A557ED}"/>
                </a:ext>
              </a:extLst>
            </p:cNvPr>
            <p:cNvSpPr/>
            <p:nvPr/>
          </p:nvSpPr>
          <p:spPr>
            <a:xfrm>
              <a:off x="6961668" y="1398139"/>
              <a:ext cx="1604581" cy="99441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095C04C6-6A3B-44D8-9B83-1E5F570BF781}"/>
                </a:ext>
              </a:extLst>
            </p:cNvPr>
            <p:cNvSpPr txBox="1"/>
            <p:nvPr/>
          </p:nvSpPr>
          <p:spPr>
            <a:xfrm>
              <a:off x="6860068" y="1399638"/>
              <a:ext cx="1795153" cy="1016818"/>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SGAM</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0011000</a:t>
              </a:r>
            </a:p>
          </p:txBody>
        </p:sp>
      </p:grpSp>
      <p:grpSp>
        <p:nvGrpSpPr>
          <p:cNvPr id="14" name="Group 13">
            <a:extLst>
              <a:ext uri="{FF2B5EF4-FFF2-40B4-BE49-F238E27FC236}">
                <a16:creationId xmlns:a16="http://schemas.microsoft.com/office/drawing/2014/main" id="{67AB6375-1B19-D7FA-8579-E7E1B707D5A4}"/>
              </a:ext>
            </a:extLst>
          </p:cNvPr>
          <p:cNvGrpSpPr/>
          <p:nvPr/>
        </p:nvGrpSpPr>
        <p:grpSpPr>
          <a:xfrm>
            <a:off x="3698548" y="1523863"/>
            <a:ext cx="1795153" cy="1018317"/>
            <a:chOff x="3577673" y="1398139"/>
            <a:chExt cx="1795153" cy="1018317"/>
          </a:xfrm>
        </p:grpSpPr>
        <p:sp>
          <p:nvSpPr>
            <p:cNvPr id="89" name="Rectangle 88">
              <a:extLst>
                <a:ext uri="{FF2B5EF4-FFF2-40B4-BE49-F238E27FC236}">
                  <a16:creationId xmlns:a16="http://schemas.microsoft.com/office/drawing/2014/main" id="{CFB0023F-3127-49D3-B3AB-CF060728A72D}"/>
                </a:ext>
              </a:extLst>
            </p:cNvPr>
            <p:cNvSpPr/>
            <p:nvPr/>
          </p:nvSpPr>
          <p:spPr>
            <a:xfrm>
              <a:off x="3641173" y="1398139"/>
              <a:ext cx="1604581" cy="99441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90" name="TextBox 89">
              <a:extLst>
                <a:ext uri="{FF2B5EF4-FFF2-40B4-BE49-F238E27FC236}">
                  <a16:creationId xmlns:a16="http://schemas.microsoft.com/office/drawing/2014/main" id="{B43E0BFD-F315-4AA7-B898-81CBFB303F48}"/>
                </a:ext>
              </a:extLst>
            </p:cNvPr>
            <p:cNvSpPr txBox="1"/>
            <p:nvPr/>
          </p:nvSpPr>
          <p:spPr>
            <a:xfrm>
              <a:off x="3577673" y="1399638"/>
              <a:ext cx="1795153" cy="1016818"/>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GAM</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01000010</a:t>
              </a:r>
            </a:p>
          </p:txBody>
        </p:sp>
      </p:grpSp>
      <p:grpSp>
        <p:nvGrpSpPr>
          <p:cNvPr id="5" name="Group 4">
            <a:extLst>
              <a:ext uri="{FF2B5EF4-FFF2-40B4-BE49-F238E27FC236}">
                <a16:creationId xmlns:a16="http://schemas.microsoft.com/office/drawing/2014/main" id="{687A5007-C1D0-4369-9D2F-B23AE5D9EAF3}"/>
              </a:ext>
            </a:extLst>
          </p:cNvPr>
          <p:cNvGrpSpPr/>
          <p:nvPr/>
        </p:nvGrpSpPr>
        <p:grpSpPr>
          <a:xfrm>
            <a:off x="269241" y="4334601"/>
            <a:ext cx="11775314" cy="1053056"/>
            <a:chOff x="219675" y="4335746"/>
            <a:chExt cx="12011434" cy="1074172"/>
          </a:xfrm>
        </p:grpSpPr>
        <p:grpSp>
          <p:nvGrpSpPr>
            <p:cNvPr id="91" name="Group 90">
              <a:extLst>
                <a:ext uri="{FF2B5EF4-FFF2-40B4-BE49-F238E27FC236}">
                  <a16:creationId xmlns:a16="http://schemas.microsoft.com/office/drawing/2014/main" id="{02F6B5CD-56AF-493F-A9BA-89FB61AAC1F3}"/>
                </a:ext>
              </a:extLst>
            </p:cNvPr>
            <p:cNvGrpSpPr/>
            <p:nvPr/>
          </p:nvGrpSpPr>
          <p:grpSpPr>
            <a:xfrm>
              <a:off x="219675" y="4335746"/>
              <a:ext cx="1426281" cy="1074172"/>
              <a:chOff x="947968" y="1583878"/>
              <a:chExt cx="2698481" cy="1074172"/>
            </a:xfrm>
          </p:grpSpPr>
          <p:sp>
            <p:nvSpPr>
              <p:cNvPr id="92" name="Rectangle 91">
                <a:extLst>
                  <a:ext uri="{FF2B5EF4-FFF2-40B4-BE49-F238E27FC236}">
                    <a16:creationId xmlns:a16="http://schemas.microsoft.com/office/drawing/2014/main" id="{6164E19A-299C-4A4F-9D5E-2E914F46ACFA}"/>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93" name="TextBox 92">
                <a:extLst>
                  <a:ext uri="{FF2B5EF4-FFF2-40B4-BE49-F238E27FC236}">
                    <a16:creationId xmlns:a16="http://schemas.microsoft.com/office/drawing/2014/main" id="{BDA9614C-9AE0-4967-B1C7-31463471A650}"/>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50)</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57)</a:t>
                </a:r>
              </a:p>
            </p:txBody>
          </p:sp>
        </p:grpSp>
        <p:grpSp>
          <p:nvGrpSpPr>
            <p:cNvPr id="94" name="Group 93">
              <a:extLst>
                <a:ext uri="{FF2B5EF4-FFF2-40B4-BE49-F238E27FC236}">
                  <a16:creationId xmlns:a16="http://schemas.microsoft.com/office/drawing/2014/main" id="{99B7FE5F-55B8-40FF-8291-BBD88F4D9B6B}"/>
                </a:ext>
              </a:extLst>
            </p:cNvPr>
            <p:cNvGrpSpPr/>
            <p:nvPr/>
          </p:nvGrpSpPr>
          <p:grpSpPr>
            <a:xfrm>
              <a:off x="3244005" y="4335746"/>
              <a:ext cx="1426281" cy="1074172"/>
              <a:chOff x="947968" y="1583878"/>
              <a:chExt cx="2698481" cy="1074172"/>
            </a:xfrm>
          </p:grpSpPr>
          <p:sp>
            <p:nvSpPr>
              <p:cNvPr id="95" name="Rectangle 94">
                <a:extLst>
                  <a:ext uri="{FF2B5EF4-FFF2-40B4-BE49-F238E27FC236}">
                    <a16:creationId xmlns:a16="http://schemas.microsoft.com/office/drawing/2014/main" id="{7AC9F0DF-5B61-4821-B7B8-F7795CCED783}"/>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03F4D436-E142-48CA-BCB8-B6E50B6A18F7}"/>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66)</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73)</a:t>
                </a:r>
              </a:p>
            </p:txBody>
          </p:sp>
        </p:grpSp>
        <p:grpSp>
          <p:nvGrpSpPr>
            <p:cNvPr id="97" name="Group 96">
              <a:extLst>
                <a:ext uri="{FF2B5EF4-FFF2-40B4-BE49-F238E27FC236}">
                  <a16:creationId xmlns:a16="http://schemas.microsoft.com/office/drawing/2014/main" id="{6FF7CA3B-7573-4B02-B6AE-902DD305336A}"/>
                </a:ext>
              </a:extLst>
            </p:cNvPr>
            <p:cNvGrpSpPr/>
            <p:nvPr/>
          </p:nvGrpSpPr>
          <p:grpSpPr>
            <a:xfrm>
              <a:off x="4756170" y="4335746"/>
              <a:ext cx="1426281" cy="1074172"/>
              <a:chOff x="947968" y="1583878"/>
              <a:chExt cx="2698481" cy="1074172"/>
            </a:xfrm>
          </p:grpSpPr>
          <p:sp>
            <p:nvSpPr>
              <p:cNvPr id="98" name="Rectangle 97">
                <a:extLst>
                  <a:ext uri="{FF2B5EF4-FFF2-40B4-BE49-F238E27FC236}">
                    <a16:creationId xmlns:a16="http://schemas.microsoft.com/office/drawing/2014/main" id="{B5C962EC-B7CA-4B35-A7ED-C8C37ED2F649}"/>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99" name="TextBox 98">
                <a:extLst>
                  <a:ext uri="{FF2B5EF4-FFF2-40B4-BE49-F238E27FC236}">
                    <a16:creationId xmlns:a16="http://schemas.microsoft.com/office/drawing/2014/main" id="{A6929D79-705D-4D6D-AF92-AE3C41E44118}"/>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74)</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81)</a:t>
                </a:r>
              </a:p>
            </p:txBody>
          </p:sp>
        </p:grpSp>
        <p:grpSp>
          <p:nvGrpSpPr>
            <p:cNvPr id="100" name="Group 99">
              <a:extLst>
                <a:ext uri="{FF2B5EF4-FFF2-40B4-BE49-F238E27FC236}">
                  <a16:creationId xmlns:a16="http://schemas.microsoft.com/office/drawing/2014/main" id="{FC639D88-D5B7-4D55-9B67-AA66EA8B4513}"/>
                </a:ext>
              </a:extLst>
            </p:cNvPr>
            <p:cNvGrpSpPr/>
            <p:nvPr/>
          </p:nvGrpSpPr>
          <p:grpSpPr>
            <a:xfrm>
              <a:off x="6268335" y="4335746"/>
              <a:ext cx="1426281" cy="1074172"/>
              <a:chOff x="947968" y="1583878"/>
              <a:chExt cx="2698481" cy="1074172"/>
            </a:xfrm>
          </p:grpSpPr>
          <p:sp>
            <p:nvSpPr>
              <p:cNvPr id="101" name="Rectangle 100">
                <a:extLst>
                  <a:ext uri="{FF2B5EF4-FFF2-40B4-BE49-F238E27FC236}">
                    <a16:creationId xmlns:a16="http://schemas.microsoft.com/office/drawing/2014/main" id="{DB51EF20-17DE-4F46-A01E-87A8119F406F}"/>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02" name="TextBox 101">
                <a:extLst>
                  <a:ext uri="{FF2B5EF4-FFF2-40B4-BE49-F238E27FC236}">
                    <a16:creationId xmlns:a16="http://schemas.microsoft.com/office/drawing/2014/main" id="{16D3E955-14F7-45A9-AFAC-CF6212118741}"/>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82)</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89)</a:t>
                </a:r>
              </a:p>
            </p:txBody>
          </p:sp>
        </p:grpSp>
        <p:grpSp>
          <p:nvGrpSpPr>
            <p:cNvPr id="103" name="Group 102">
              <a:extLst>
                <a:ext uri="{FF2B5EF4-FFF2-40B4-BE49-F238E27FC236}">
                  <a16:creationId xmlns:a16="http://schemas.microsoft.com/office/drawing/2014/main" id="{167759E9-D057-4D62-9CB5-C805753DB7C6}"/>
                </a:ext>
              </a:extLst>
            </p:cNvPr>
            <p:cNvGrpSpPr/>
            <p:nvPr/>
          </p:nvGrpSpPr>
          <p:grpSpPr>
            <a:xfrm>
              <a:off x="7780500" y="4335746"/>
              <a:ext cx="1426281" cy="1074172"/>
              <a:chOff x="947968" y="1583878"/>
              <a:chExt cx="2698481" cy="1074172"/>
            </a:xfrm>
          </p:grpSpPr>
          <p:sp>
            <p:nvSpPr>
              <p:cNvPr id="104" name="Rectangle 103">
                <a:extLst>
                  <a:ext uri="{FF2B5EF4-FFF2-40B4-BE49-F238E27FC236}">
                    <a16:creationId xmlns:a16="http://schemas.microsoft.com/office/drawing/2014/main" id="{AFF0B096-9180-434C-83A3-EBA6335B67F6}"/>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05" name="TextBox 104">
                <a:extLst>
                  <a:ext uri="{FF2B5EF4-FFF2-40B4-BE49-F238E27FC236}">
                    <a16:creationId xmlns:a16="http://schemas.microsoft.com/office/drawing/2014/main" id="{ABA444B1-E291-4178-806E-079FEFAA148E}"/>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90)</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97)</a:t>
                </a:r>
              </a:p>
            </p:txBody>
          </p:sp>
        </p:grpSp>
        <p:grpSp>
          <p:nvGrpSpPr>
            <p:cNvPr id="106" name="Group 105">
              <a:extLst>
                <a:ext uri="{FF2B5EF4-FFF2-40B4-BE49-F238E27FC236}">
                  <a16:creationId xmlns:a16="http://schemas.microsoft.com/office/drawing/2014/main" id="{0C5996DF-0623-44FC-A821-AA0B027C0B3D}"/>
                </a:ext>
              </a:extLst>
            </p:cNvPr>
            <p:cNvGrpSpPr/>
            <p:nvPr/>
          </p:nvGrpSpPr>
          <p:grpSpPr>
            <a:xfrm>
              <a:off x="9292665" y="4335746"/>
              <a:ext cx="1426281" cy="1074172"/>
              <a:chOff x="947968" y="1583878"/>
              <a:chExt cx="2698481" cy="1074172"/>
            </a:xfrm>
          </p:grpSpPr>
          <p:sp>
            <p:nvSpPr>
              <p:cNvPr id="107" name="Rectangle 106">
                <a:extLst>
                  <a:ext uri="{FF2B5EF4-FFF2-40B4-BE49-F238E27FC236}">
                    <a16:creationId xmlns:a16="http://schemas.microsoft.com/office/drawing/2014/main" id="{70EBED7A-6BB9-4013-BA92-2CF363FC60B6}"/>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08" name="TextBox 107">
                <a:extLst>
                  <a:ext uri="{FF2B5EF4-FFF2-40B4-BE49-F238E27FC236}">
                    <a16:creationId xmlns:a16="http://schemas.microsoft.com/office/drawing/2014/main" id="{18019E5A-FB3E-4126-994E-B54C153C7979}"/>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98)</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605)</a:t>
                </a:r>
              </a:p>
            </p:txBody>
          </p:sp>
        </p:grpSp>
        <p:grpSp>
          <p:nvGrpSpPr>
            <p:cNvPr id="109" name="Group 108">
              <a:extLst>
                <a:ext uri="{FF2B5EF4-FFF2-40B4-BE49-F238E27FC236}">
                  <a16:creationId xmlns:a16="http://schemas.microsoft.com/office/drawing/2014/main" id="{5DB2E764-A904-441F-8CD6-7CACED436B35}"/>
                </a:ext>
              </a:extLst>
            </p:cNvPr>
            <p:cNvGrpSpPr/>
            <p:nvPr/>
          </p:nvGrpSpPr>
          <p:grpSpPr>
            <a:xfrm>
              <a:off x="1731840" y="4335746"/>
              <a:ext cx="1426281" cy="1074172"/>
              <a:chOff x="947968" y="1583878"/>
              <a:chExt cx="2698481" cy="1074172"/>
            </a:xfrm>
          </p:grpSpPr>
          <p:sp>
            <p:nvSpPr>
              <p:cNvPr id="110" name="Rectangle 109">
                <a:extLst>
                  <a:ext uri="{FF2B5EF4-FFF2-40B4-BE49-F238E27FC236}">
                    <a16:creationId xmlns:a16="http://schemas.microsoft.com/office/drawing/2014/main" id="{D855B7C0-D7C1-43F7-9425-24B8697A1301}"/>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11" name="TextBox 110">
                <a:extLst>
                  <a:ext uri="{FF2B5EF4-FFF2-40B4-BE49-F238E27FC236}">
                    <a16:creationId xmlns:a16="http://schemas.microsoft.com/office/drawing/2014/main" id="{44F75053-97C5-4FE1-8ABD-2D9B630152D9}"/>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58)</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565)</a:t>
                </a:r>
              </a:p>
            </p:txBody>
          </p:sp>
        </p:grpSp>
        <p:grpSp>
          <p:nvGrpSpPr>
            <p:cNvPr id="112" name="Group 111">
              <a:extLst>
                <a:ext uri="{FF2B5EF4-FFF2-40B4-BE49-F238E27FC236}">
                  <a16:creationId xmlns:a16="http://schemas.microsoft.com/office/drawing/2014/main" id="{A406DB1F-DEF2-487B-A0EA-EA35F685FD87}"/>
                </a:ext>
              </a:extLst>
            </p:cNvPr>
            <p:cNvGrpSpPr/>
            <p:nvPr/>
          </p:nvGrpSpPr>
          <p:grpSpPr>
            <a:xfrm>
              <a:off x="10804828" y="4335746"/>
              <a:ext cx="1426281" cy="1074172"/>
              <a:chOff x="947968" y="1583878"/>
              <a:chExt cx="2698481" cy="1074172"/>
            </a:xfrm>
          </p:grpSpPr>
          <p:sp>
            <p:nvSpPr>
              <p:cNvPr id="113" name="Rectangle 112">
                <a:extLst>
                  <a:ext uri="{FF2B5EF4-FFF2-40B4-BE49-F238E27FC236}">
                    <a16:creationId xmlns:a16="http://schemas.microsoft.com/office/drawing/2014/main" id="{1E0D311A-120C-4B03-93F9-31DFAE69C1E4}"/>
                  </a:ext>
                </a:extLst>
              </p:cNvPr>
              <p:cNvSpPr/>
              <p:nvPr/>
            </p:nvSpPr>
            <p:spPr>
              <a:xfrm>
                <a:off x="947970" y="1583878"/>
                <a:ext cx="2698479" cy="1014356"/>
              </a:xfrm>
              <a:prstGeom prst="rect">
                <a:avLst/>
              </a:prstGeom>
              <a:solidFill>
                <a:srgbClr val="0A5BBA">
                  <a:lumMod val="20000"/>
                  <a:lumOff val="80000"/>
                </a:srgbClr>
              </a:solidFill>
              <a:ln w="25400" cap="flat" cmpd="sng" algn="ctr">
                <a:solidFill>
                  <a:srgbClr val="000000"/>
                </a:solidFill>
                <a:prstDash val="solid"/>
              </a:ln>
              <a:effectLst/>
            </p:spPr>
            <p:txBody>
              <a:bodyPr rtlCol="0" anchor="ctr"/>
              <a:lstStyle/>
              <a:p>
                <a:pPr marL="0" marR="0" lvl="0" indent="0" algn="ctr" defTabSz="448193"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000000"/>
                  </a:solidFill>
                  <a:effectLst/>
                  <a:uLnTx/>
                  <a:uFillTx/>
                  <a:latin typeface="Segoe UI"/>
                  <a:ea typeface="+mn-ea"/>
                  <a:cs typeface="+mn-cs"/>
                </a:endParaRPr>
              </a:p>
            </p:txBody>
          </p:sp>
          <p:sp>
            <p:nvSpPr>
              <p:cNvPr id="114" name="TextBox 113">
                <a:extLst>
                  <a:ext uri="{FF2B5EF4-FFF2-40B4-BE49-F238E27FC236}">
                    <a16:creationId xmlns:a16="http://schemas.microsoft.com/office/drawing/2014/main" id="{04177C14-3034-423E-9ABE-5EC6B122A8DB}"/>
                  </a:ext>
                </a:extLst>
              </p:cNvPr>
              <p:cNvSpPr txBox="1"/>
              <p:nvPr/>
            </p:nvSpPr>
            <p:spPr>
              <a:xfrm>
                <a:off x="947968" y="1620843"/>
                <a:ext cx="2698479" cy="1037207"/>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606)</a:t>
                </a:r>
              </a:p>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1:613)</a:t>
                </a:r>
              </a:p>
            </p:txBody>
          </p:sp>
        </p:grpSp>
      </p:grpSp>
      <p:sp>
        <p:nvSpPr>
          <p:cNvPr id="6" name="TextBox 5">
            <a:extLst>
              <a:ext uri="{FF2B5EF4-FFF2-40B4-BE49-F238E27FC236}">
                <a16:creationId xmlns:a16="http://schemas.microsoft.com/office/drawing/2014/main" id="{AE946B82-954C-49A2-BEA1-47C8B9BABB25}"/>
              </a:ext>
            </a:extLst>
          </p:cNvPr>
          <p:cNvSpPr txBox="1"/>
          <p:nvPr/>
        </p:nvSpPr>
        <p:spPr>
          <a:xfrm>
            <a:off x="5029272" y="2891198"/>
            <a:ext cx="2339450" cy="126723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Mixed Extent with free pages</a:t>
            </a:r>
          </a:p>
        </p:txBody>
      </p:sp>
      <p:sp>
        <p:nvSpPr>
          <p:cNvPr id="117" name="TextBox 116">
            <a:extLst>
              <a:ext uri="{FF2B5EF4-FFF2-40B4-BE49-F238E27FC236}">
                <a16:creationId xmlns:a16="http://schemas.microsoft.com/office/drawing/2014/main" id="{CFAF2B70-DBDB-4F45-9432-2A8B90CB978E}"/>
              </a:ext>
            </a:extLst>
          </p:cNvPr>
          <p:cNvSpPr txBox="1"/>
          <p:nvPr/>
        </p:nvSpPr>
        <p:spPr>
          <a:xfrm>
            <a:off x="10613896" y="5332439"/>
            <a:ext cx="1398242" cy="94138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ull Extent</a:t>
            </a:r>
          </a:p>
        </p:txBody>
      </p:sp>
      <p:sp>
        <p:nvSpPr>
          <p:cNvPr id="118" name="TextBox 117">
            <a:extLst>
              <a:ext uri="{FF2B5EF4-FFF2-40B4-BE49-F238E27FC236}">
                <a16:creationId xmlns:a16="http://schemas.microsoft.com/office/drawing/2014/main" id="{014CDDAB-8D34-4459-A931-AEFE58BCA497}"/>
              </a:ext>
            </a:extLst>
          </p:cNvPr>
          <p:cNvSpPr txBox="1"/>
          <p:nvPr/>
        </p:nvSpPr>
        <p:spPr>
          <a:xfrm>
            <a:off x="3292427" y="5332439"/>
            <a:ext cx="1398242" cy="94138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ull Extent</a:t>
            </a:r>
          </a:p>
        </p:txBody>
      </p:sp>
      <p:sp>
        <p:nvSpPr>
          <p:cNvPr id="119" name="TextBox 118">
            <a:extLst>
              <a:ext uri="{FF2B5EF4-FFF2-40B4-BE49-F238E27FC236}">
                <a16:creationId xmlns:a16="http://schemas.microsoft.com/office/drawing/2014/main" id="{280098D3-7D3D-43F4-9860-145DF771B203}"/>
              </a:ext>
            </a:extLst>
          </p:cNvPr>
          <p:cNvSpPr txBox="1"/>
          <p:nvPr/>
        </p:nvSpPr>
        <p:spPr>
          <a:xfrm>
            <a:off x="7749967" y="5332439"/>
            <a:ext cx="1398242" cy="94138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ull Extent</a:t>
            </a:r>
          </a:p>
        </p:txBody>
      </p:sp>
      <p:sp>
        <p:nvSpPr>
          <p:cNvPr id="120" name="TextBox 119">
            <a:extLst>
              <a:ext uri="{FF2B5EF4-FFF2-40B4-BE49-F238E27FC236}">
                <a16:creationId xmlns:a16="http://schemas.microsoft.com/office/drawing/2014/main" id="{16CDFD0A-441D-4BF6-BAB5-395CA4830D7B}"/>
              </a:ext>
            </a:extLst>
          </p:cNvPr>
          <p:cNvSpPr txBox="1"/>
          <p:nvPr/>
        </p:nvSpPr>
        <p:spPr>
          <a:xfrm>
            <a:off x="303506" y="5332439"/>
            <a:ext cx="1398242" cy="941386"/>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Full Extent</a:t>
            </a:r>
          </a:p>
        </p:txBody>
      </p:sp>
      <p:cxnSp>
        <p:nvCxnSpPr>
          <p:cNvPr id="8" name="Straight Arrow Connector 7">
            <a:extLst>
              <a:ext uri="{FF2B5EF4-FFF2-40B4-BE49-F238E27FC236}">
                <a16:creationId xmlns:a16="http://schemas.microsoft.com/office/drawing/2014/main" id="{FEC7A9DE-EFC4-48CA-A9E2-F0068093A35B}"/>
              </a:ext>
            </a:extLst>
          </p:cNvPr>
          <p:cNvCxnSpPr>
            <a:cxnSpLocks/>
          </p:cNvCxnSpPr>
          <p:nvPr/>
        </p:nvCxnSpPr>
        <p:spPr>
          <a:xfrm flipH="1">
            <a:off x="5269230" y="3812690"/>
            <a:ext cx="338892" cy="500047"/>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1" name="Straight Arrow Connector 120">
            <a:extLst>
              <a:ext uri="{FF2B5EF4-FFF2-40B4-BE49-F238E27FC236}">
                <a16:creationId xmlns:a16="http://schemas.microsoft.com/office/drawing/2014/main" id="{78E1DF9A-F517-4AB2-A8CD-9E787FABA981}"/>
              </a:ext>
            </a:extLst>
          </p:cNvPr>
          <p:cNvCxnSpPr>
            <a:cxnSpLocks/>
          </p:cNvCxnSpPr>
          <p:nvPr/>
        </p:nvCxnSpPr>
        <p:spPr>
          <a:xfrm>
            <a:off x="6732074" y="3801266"/>
            <a:ext cx="332087" cy="518167"/>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5" name="Group 14">
            <a:extLst>
              <a:ext uri="{FF2B5EF4-FFF2-40B4-BE49-F238E27FC236}">
                <a16:creationId xmlns:a16="http://schemas.microsoft.com/office/drawing/2014/main" id="{7365F0E2-8241-4A23-854B-029384AA4634}"/>
              </a:ext>
            </a:extLst>
          </p:cNvPr>
          <p:cNvGrpSpPr/>
          <p:nvPr/>
        </p:nvGrpSpPr>
        <p:grpSpPr>
          <a:xfrm>
            <a:off x="1208828" y="2891198"/>
            <a:ext cx="2339450" cy="1384763"/>
            <a:chOff x="1192250" y="3046063"/>
            <a:chExt cx="2386361" cy="1412530"/>
          </a:xfrm>
        </p:grpSpPr>
        <p:sp>
          <p:nvSpPr>
            <p:cNvPr id="115" name="TextBox 114">
              <a:extLst>
                <a:ext uri="{FF2B5EF4-FFF2-40B4-BE49-F238E27FC236}">
                  <a16:creationId xmlns:a16="http://schemas.microsoft.com/office/drawing/2014/main" id="{A0E67AE6-B49C-4F05-AD78-8538906E55FF}"/>
                </a:ext>
              </a:extLst>
            </p:cNvPr>
            <p:cNvSpPr txBox="1"/>
            <p:nvPr/>
          </p:nvSpPr>
          <p:spPr>
            <a:xfrm>
              <a:off x="1192250" y="3046063"/>
              <a:ext cx="2386361" cy="96026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Unallocated Extent</a:t>
              </a:r>
            </a:p>
          </p:txBody>
        </p:sp>
        <p:cxnSp>
          <p:nvCxnSpPr>
            <p:cNvPr id="122" name="Straight Arrow Connector 121">
              <a:extLst>
                <a:ext uri="{FF2B5EF4-FFF2-40B4-BE49-F238E27FC236}">
                  <a16:creationId xmlns:a16="http://schemas.microsoft.com/office/drawing/2014/main" id="{36D87997-18E5-40CD-9AD2-13A4781683E6}"/>
                </a:ext>
              </a:extLst>
            </p:cNvPr>
            <p:cNvCxnSpPr>
              <a:cxnSpLocks/>
            </p:cNvCxnSpPr>
            <p:nvPr/>
          </p:nvCxnSpPr>
          <p:spPr>
            <a:xfrm>
              <a:off x="2368957" y="3876992"/>
              <a:ext cx="0" cy="581601"/>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grpSp>
        <p:nvGrpSpPr>
          <p:cNvPr id="123" name="Group 122">
            <a:extLst>
              <a:ext uri="{FF2B5EF4-FFF2-40B4-BE49-F238E27FC236}">
                <a16:creationId xmlns:a16="http://schemas.microsoft.com/office/drawing/2014/main" id="{9094AC93-78D2-4037-9280-CC644462DC4D}"/>
              </a:ext>
            </a:extLst>
          </p:cNvPr>
          <p:cNvGrpSpPr/>
          <p:nvPr/>
        </p:nvGrpSpPr>
        <p:grpSpPr>
          <a:xfrm>
            <a:off x="8699887" y="2891198"/>
            <a:ext cx="2339450" cy="1384763"/>
            <a:chOff x="1192250" y="3046063"/>
            <a:chExt cx="2386361" cy="1412530"/>
          </a:xfrm>
        </p:grpSpPr>
        <p:sp>
          <p:nvSpPr>
            <p:cNvPr id="124" name="TextBox 123">
              <a:extLst>
                <a:ext uri="{FF2B5EF4-FFF2-40B4-BE49-F238E27FC236}">
                  <a16:creationId xmlns:a16="http://schemas.microsoft.com/office/drawing/2014/main" id="{9205C00C-8873-44DD-8747-EC3E67AA6FF1}"/>
                </a:ext>
              </a:extLst>
            </p:cNvPr>
            <p:cNvSpPr txBox="1"/>
            <p:nvPr/>
          </p:nvSpPr>
          <p:spPr>
            <a:xfrm>
              <a:off x="1192250" y="3046063"/>
              <a:ext cx="2386361" cy="960263"/>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Unallocated Extent</a:t>
              </a:r>
            </a:p>
          </p:txBody>
        </p:sp>
        <p:cxnSp>
          <p:nvCxnSpPr>
            <p:cNvPr id="125" name="Straight Arrow Connector 124">
              <a:extLst>
                <a:ext uri="{FF2B5EF4-FFF2-40B4-BE49-F238E27FC236}">
                  <a16:creationId xmlns:a16="http://schemas.microsoft.com/office/drawing/2014/main" id="{C55F8A1A-C679-4CF6-99C3-07AB4479C243}"/>
                </a:ext>
              </a:extLst>
            </p:cNvPr>
            <p:cNvCxnSpPr>
              <a:cxnSpLocks/>
            </p:cNvCxnSpPr>
            <p:nvPr/>
          </p:nvCxnSpPr>
          <p:spPr>
            <a:xfrm>
              <a:off x="2368957" y="3876992"/>
              <a:ext cx="0" cy="581601"/>
            </a:xfrm>
            <a:prstGeom prst="straightConnector1">
              <a:avLst/>
            </a:prstGeom>
            <a:ln w="76200"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spTree>
    <p:custDataLst>
      <p:tags r:id="rId1"/>
    </p:custDataLst>
    <p:extLst>
      <p:ext uri="{BB962C8B-B14F-4D97-AF65-F5344CB8AC3E}">
        <p14:creationId xmlns:p14="http://schemas.microsoft.com/office/powerpoint/2010/main" val="36872348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751D6-A0D5-48CB-8132-0BD0278E0AFB}"/>
              </a:ext>
            </a:extLst>
          </p:cNvPr>
          <p:cNvSpPr>
            <a:spLocks noGrp="1"/>
          </p:cNvSpPr>
          <p:nvPr>
            <p:ph type="title"/>
          </p:nvPr>
        </p:nvSpPr>
        <p:spPr/>
        <p:txBody>
          <a:bodyPr/>
          <a:lstStyle/>
          <a:p>
            <a:r>
              <a:rPr lang="en-US" dirty="0"/>
              <a:t>SQL Server object allocation</a:t>
            </a:r>
          </a:p>
        </p:txBody>
      </p:sp>
      <p:graphicFrame>
        <p:nvGraphicFramePr>
          <p:cNvPr id="5" name="Content Placeholder 4">
            <a:extLst>
              <a:ext uri="{FF2B5EF4-FFF2-40B4-BE49-F238E27FC236}">
                <a16:creationId xmlns:a16="http://schemas.microsoft.com/office/drawing/2014/main" id="{DBC46F64-1AA7-4968-9494-241F95F9231B}"/>
              </a:ext>
            </a:extLst>
          </p:cNvPr>
          <p:cNvGraphicFramePr>
            <a:graphicFrameLocks noGrp="1"/>
          </p:cNvGraphicFramePr>
          <p:nvPr>
            <p:ph sz="quarter" idx="13"/>
            <p:extLst>
              <p:ext uri="{D42A27DB-BD31-4B8C-83A1-F6EECF244321}">
                <p14:modId xmlns:p14="http://schemas.microsoft.com/office/powerpoint/2010/main" val="1235502365"/>
              </p:ext>
            </p:extLst>
          </p:nvPr>
        </p:nvGraphicFramePr>
        <p:xfrm>
          <a:off x="655637" y="1242860"/>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9723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 (Trace Flag 1118)</a:t>
            </a:r>
          </a:p>
        </p:txBody>
      </p:sp>
      <p:graphicFrame>
        <p:nvGraphicFramePr>
          <p:cNvPr id="5" name="Content Placeholder 4">
            <a:extLst>
              <a:ext uri="{FF2B5EF4-FFF2-40B4-BE49-F238E27FC236}">
                <a16:creationId xmlns:a16="http://schemas.microsoft.com/office/drawing/2014/main" id="{951F87FE-A7DB-4594-9534-11EE3F5DEE97}"/>
              </a:ext>
            </a:extLst>
          </p:cNvPr>
          <p:cNvGraphicFramePr>
            <a:graphicFrameLocks noGrp="1"/>
          </p:cNvGraphicFramePr>
          <p:nvPr>
            <p:ph sz="quarter" idx="13"/>
            <p:extLst>
              <p:ext uri="{D42A27DB-BD31-4B8C-83A1-F6EECF244321}">
                <p14:modId xmlns:p14="http://schemas.microsoft.com/office/powerpoint/2010/main" val="3224992474"/>
              </p:ext>
            </p:extLst>
          </p:nvPr>
        </p:nvGraphicFramePr>
        <p:xfrm>
          <a:off x="655638" y="1408114"/>
          <a:ext cx="10880726" cy="4078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61562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A92A9-B175-485F-8685-C452F3711619}"/>
              </a:ext>
            </a:extLst>
          </p:cNvPr>
          <p:cNvSpPr>
            <a:spLocks noGrp="1"/>
          </p:cNvSpPr>
          <p:nvPr>
            <p:ph type="title"/>
          </p:nvPr>
        </p:nvSpPr>
        <p:spPr/>
        <p:txBody>
          <a:bodyPr/>
          <a:lstStyle/>
          <a:p>
            <a:r>
              <a:rPr lang="en-US" dirty="0"/>
              <a:t>Tying it all together</a:t>
            </a:r>
          </a:p>
        </p:txBody>
      </p:sp>
      <p:grpSp>
        <p:nvGrpSpPr>
          <p:cNvPr id="29" name="Group 28">
            <a:extLst>
              <a:ext uri="{FF2B5EF4-FFF2-40B4-BE49-F238E27FC236}">
                <a16:creationId xmlns:a16="http://schemas.microsoft.com/office/drawing/2014/main" id="{42989DF0-FAE2-4C8B-A193-D4B9EA0C9E3E}"/>
              </a:ext>
            </a:extLst>
          </p:cNvPr>
          <p:cNvGrpSpPr/>
          <p:nvPr/>
        </p:nvGrpSpPr>
        <p:grpSpPr>
          <a:xfrm>
            <a:off x="456210" y="1288795"/>
            <a:ext cx="10395322" cy="5249165"/>
            <a:chOff x="883640" y="1439550"/>
            <a:chExt cx="10395322" cy="5249165"/>
          </a:xfrm>
        </p:grpSpPr>
        <p:sp>
          <p:nvSpPr>
            <p:cNvPr id="5" name="Rectangle 4">
              <a:extLst>
                <a:ext uri="{FF2B5EF4-FFF2-40B4-BE49-F238E27FC236}">
                  <a16:creationId xmlns:a16="http://schemas.microsoft.com/office/drawing/2014/main" id="{3CB5B914-3015-484B-ACBD-760ED964BB0F}"/>
                </a:ext>
              </a:extLst>
            </p:cNvPr>
            <p:cNvSpPr/>
            <p:nvPr/>
          </p:nvSpPr>
          <p:spPr>
            <a:xfrm>
              <a:off x="883640" y="1439550"/>
              <a:ext cx="1651000" cy="102958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alculate the Record Size</a:t>
              </a:r>
            </a:p>
          </p:txBody>
        </p:sp>
        <p:sp>
          <p:nvSpPr>
            <p:cNvPr id="6" name="Rectangle 5">
              <a:extLst>
                <a:ext uri="{FF2B5EF4-FFF2-40B4-BE49-F238E27FC236}">
                  <a16:creationId xmlns:a16="http://schemas.microsoft.com/office/drawing/2014/main" id="{FF34C0F2-9F38-44DB-8CB6-74AADAC0EF1D}"/>
                </a:ext>
              </a:extLst>
            </p:cNvPr>
            <p:cNvSpPr/>
            <p:nvPr/>
          </p:nvSpPr>
          <p:spPr>
            <a:xfrm>
              <a:off x="3329510"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heck if Table has pages (IAM Page)</a:t>
              </a:r>
            </a:p>
          </p:txBody>
        </p:sp>
        <p:sp>
          <p:nvSpPr>
            <p:cNvPr id="7" name="TextBox 6">
              <a:extLst>
                <a:ext uri="{FF2B5EF4-FFF2-40B4-BE49-F238E27FC236}">
                  <a16:creationId xmlns:a16="http://schemas.microsoft.com/office/drawing/2014/main" id="{4EFC8324-1291-4FAF-AB9C-6748FE847A62}"/>
                </a:ext>
              </a:extLst>
            </p:cNvPr>
            <p:cNvSpPr txBox="1"/>
            <p:nvPr/>
          </p:nvSpPr>
          <p:spPr>
            <a:xfrm>
              <a:off x="5506914" y="1483947"/>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8" name="TextBox 7">
              <a:extLst>
                <a:ext uri="{FF2B5EF4-FFF2-40B4-BE49-F238E27FC236}">
                  <a16:creationId xmlns:a16="http://schemas.microsoft.com/office/drawing/2014/main" id="{DF54302E-71CE-4D64-9074-C59BA760A62A}"/>
                </a:ext>
              </a:extLst>
            </p:cNvPr>
            <p:cNvSpPr txBox="1"/>
            <p:nvPr/>
          </p:nvSpPr>
          <p:spPr>
            <a:xfrm>
              <a:off x="3039263" y="2815279"/>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sp>
          <p:nvSpPr>
            <p:cNvPr id="9" name="Rectangle 8">
              <a:extLst>
                <a:ext uri="{FF2B5EF4-FFF2-40B4-BE49-F238E27FC236}">
                  <a16:creationId xmlns:a16="http://schemas.microsoft.com/office/drawing/2014/main" id="{E5058D62-FB17-4694-A1C6-B36D45FDD0C8}"/>
                </a:ext>
              </a:extLst>
            </p:cNvPr>
            <p:cNvSpPr/>
            <p:nvPr/>
          </p:nvSpPr>
          <p:spPr>
            <a:xfrm>
              <a:off x="6249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Do these pages have unallocated space (PFS Page)</a:t>
              </a:r>
            </a:p>
          </p:txBody>
        </p:sp>
        <p:sp>
          <p:nvSpPr>
            <p:cNvPr id="10" name="TextBox 9">
              <a:extLst>
                <a:ext uri="{FF2B5EF4-FFF2-40B4-BE49-F238E27FC236}">
                  <a16:creationId xmlns:a16="http://schemas.microsoft.com/office/drawing/2014/main" id="{E2482903-3BBA-420C-B198-15D84081C464}"/>
                </a:ext>
              </a:extLst>
            </p:cNvPr>
            <p:cNvSpPr txBox="1"/>
            <p:nvPr/>
          </p:nvSpPr>
          <p:spPr>
            <a:xfrm>
              <a:off x="8443909" y="1483947"/>
              <a:ext cx="577402" cy="369332"/>
            </a:xfrm>
            <a:prstGeom prst="rect">
              <a:avLst/>
            </a:prstGeom>
            <a:noFill/>
          </p:spPr>
          <p:txBody>
            <a:bodyPr wrap="squar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1" name="Rectangle 10">
              <a:extLst>
                <a:ext uri="{FF2B5EF4-FFF2-40B4-BE49-F238E27FC236}">
                  <a16:creationId xmlns:a16="http://schemas.microsoft.com/office/drawing/2014/main" id="{B12C833F-B396-447C-ADF5-8EC267733730}"/>
                </a:ext>
              </a:extLst>
            </p:cNvPr>
            <p:cNvSpPr/>
            <p:nvPr/>
          </p:nvSpPr>
          <p:spPr>
            <a:xfrm>
              <a:off x="9170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nsert record Update the PFS Page</a:t>
              </a:r>
            </a:p>
          </p:txBody>
        </p:sp>
        <p:sp>
          <p:nvSpPr>
            <p:cNvPr id="12" name="Rectangle 11">
              <a:extLst>
                <a:ext uri="{FF2B5EF4-FFF2-40B4-BE49-F238E27FC236}">
                  <a16:creationId xmlns:a16="http://schemas.microsoft.com/office/drawing/2014/main" id="{10E11364-C040-45CD-9E17-3F55CC393258}"/>
                </a:ext>
              </a:extLst>
            </p:cNvPr>
            <p:cNvSpPr/>
            <p:nvPr/>
          </p:nvSpPr>
          <p:spPr>
            <a:xfrm>
              <a:off x="4126400" y="2817935"/>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New Page</a:t>
              </a:r>
            </a:p>
          </p:txBody>
        </p:sp>
        <p:sp>
          <p:nvSpPr>
            <p:cNvPr id="13" name="Rectangle 12">
              <a:extLst>
                <a:ext uri="{FF2B5EF4-FFF2-40B4-BE49-F238E27FC236}">
                  <a16:creationId xmlns:a16="http://schemas.microsoft.com/office/drawing/2014/main" id="{82D72875-7182-4238-9EDA-317BF9B8B222}"/>
                </a:ext>
              </a:extLst>
            </p:cNvPr>
            <p:cNvSpPr/>
            <p:nvPr/>
          </p:nvSpPr>
          <p:spPr>
            <a:xfrm>
              <a:off x="4101127" y="5019286"/>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s TF 1118 Enabled?</a:t>
              </a:r>
            </a:p>
            <a:p>
              <a:pPr algn="ctr" defTabSz="914400">
                <a:defRPr/>
              </a:pPr>
              <a:r>
                <a:rPr lang="en-US" kern="0" dirty="0">
                  <a:solidFill>
                    <a:srgbClr val="000000"/>
                  </a:solidFill>
                  <a:latin typeface="Segoe UI Light" panose="020B0502040204020203" pitchFamily="34" charset="0"/>
                </a:rPr>
                <a:t>More than 8 Pages?</a:t>
              </a:r>
            </a:p>
            <a:p>
              <a:pPr algn="ctr" defTabSz="914400">
                <a:defRPr/>
              </a:pPr>
              <a:r>
                <a:rPr lang="en-US" kern="0" dirty="0">
                  <a:solidFill>
                    <a:srgbClr val="000000"/>
                  </a:solidFill>
                  <a:latin typeface="Segoe UI Light" panose="020B0502040204020203" pitchFamily="34" charset="0"/>
                </a:rPr>
                <a:t>SQL Server&gt;=13.X ?</a:t>
              </a:r>
            </a:p>
          </p:txBody>
        </p:sp>
        <p:sp>
          <p:nvSpPr>
            <p:cNvPr id="14" name="Rectangle 13">
              <a:extLst>
                <a:ext uri="{FF2B5EF4-FFF2-40B4-BE49-F238E27FC236}">
                  <a16:creationId xmlns:a16="http://schemas.microsoft.com/office/drawing/2014/main" id="{2F72227D-9C23-480A-A002-BCE3E33AAA46}"/>
                </a:ext>
              </a:extLst>
            </p:cNvPr>
            <p:cNvSpPr/>
            <p:nvPr/>
          </p:nvSpPr>
          <p:spPr>
            <a:xfrm>
              <a:off x="8034652" y="3962400"/>
              <a:ext cx="3114483" cy="111977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page from Mixed Extent (S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5" name="Rectangle 14">
              <a:extLst>
                <a:ext uri="{FF2B5EF4-FFF2-40B4-BE49-F238E27FC236}">
                  <a16:creationId xmlns:a16="http://schemas.microsoft.com/office/drawing/2014/main" id="{372B8850-522E-44C1-8333-629503D60242}"/>
                </a:ext>
              </a:extLst>
            </p:cNvPr>
            <p:cNvSpPr/>
            <p:nvPr/>
          </p:nvSpPr>
          <p:spPr>
            <a:xfrm>
              <a:off x="8024058" y="5649411"/>
              <a:ext cx="3098065" cy="103930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Uniform Extent (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6" name="TextBox 15">
              <a:extLst>
                <a:ext uri="{FF2B5EF4-FFF2-40B4-BE49-F238E27FC236}">
                  <a16:creationId xmlns:a16="http://schemas.microsoft.com/office/drawing/2014/main" id="{684C04E9-90C9-4A11-80EF-74601E509AC9}"/>
                </a:ext>
              </a:extLst>
            </p:cNvPr>
            <p:cNvSpPr txBox="1"/>
            <p:nvPr/>
          </p:nvSpPr>
          <p:spPr>
            <a:xfrm>
              <a:off x="6261213" y="5742390"/>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7" name="TextBox 16">
              <a:extLst>
                <a:ext uri="{FF2B5EF4-FFF2-40B4-BE49-F238E27FC236}">
                  <a16:creationId xmlns:a16="http://schemas.microsoft.com/office/drawing/2014/main" id="{0D122531-2C10-4262-A724-DC3337F7CD8F}"/>
                </a:ext>
              </a:extLst>
            </p:cNvPr>
            <p:cNvSpPr txBox="1"/>
            <p:nvPr/>
          </p:nvSpPr>
          <p:spPr>
            <a:xfrm>
              <a:off x="6419410" y="4876800"/>
              <a:ext cx="52450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18" name="Elbow Connector 44">
              <a:extLst>
                <a:ext uri="{FF2B5EF4-FFF2-40B4-BE49-F238E27FC236}">
                  <a16:creationId xmlns:a16="http://schemas.microsoft.com/office/drawing/2014/main" id="{E7DCFDE6-29FE-4FC9-B704-61846DC67762}"/>
                </a:ext>
              </a:extLst>
            </p:cNvPr>
            <p:cNvCxnSpPr/>
            <p:nvPr/>
          </p:nvCxnSpPr>
          <p:spPr>
            <a:xfrm rot="16200000" flipH="1">
              <a:off x="3467503" y="2559439"/>
              <a:ext cx="830865" cy="545000"/>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9" name="Elbow Connector 45">
              <a:extLst>
                <a:ext uri="{FF2B5EF4-FFF2-40B4-BE49-F238E27FC236}">
                  <a16:creationId xmlns:a16="http://schemas.microsoft.com/office/drawing/2014/main" id="{264FEA76-9EB6-4BE5-BDCF-220C1CE3667D}"/>
                </a:ext>
              </a:extLst>
            </p:cNvPr>
            <p:cNvCxnSpPr>
              <a:endCxn id="12" idx="3"/>
            </p:cNvCxnSpPr>
            <p:nvPr/>
          </p:nvCxnSpPr>
          <p:spPr>
            <a:xfrm rot="10800000" flipV="1">
              <a:off x="6277989" y="2448277"/>
              <a:ext cx="1176132" cy="853078"/>
            </a:xfrm>
            <a:prstGeom prst="bentConnector3">
              <a:avLst>
                <a:gd name="adj1" fmla="val 96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0" name="Elbow Connector 46">
              <a:extLst>
                <a:ext uri="{FF2B5EF4-FFF2-40B4-BE49-F238E27FC236}">
                  <a16:creationId xmlns:a16="http://schemas.microsoft.com/office/drawing/2014/main" id="{F517FCC7-1498-4B4D-A287-9D7020DB32CB}"/>
                </a:ext>
              </a:extLst>
            </p:cNvPr>
            <p:cNvCxnSpPr>
              <a:endCxn id="14" idx="1"/>
            </p:cNvCxnSpPr>
            <p:nvPr/>
          </p:nvCxnSpPr>
          <p:spPr>
            <a:xfrm flipV="1">
              <a:off x="6242259" y="4522287"/>
              <a:ext cx="1792393" cy="788090"/>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1" name="Elbow Connector 47">
              <a:extLst>
                <a:ext uri="{FF2B5EF4-FFF2-40B4-BE49-F238E27FC236}">
                  <a16:creationId xmlns:a16="http://schemas.microsoft.com/office/drawing/2014/main" id="{A1C0782F-5675-4389-8D6D-8E1730DC546F}"/>
                </a:ext>
              </a:extLst>
            </p:cNvPr>
            <p:cNvCxnSpPr>
              <a:endCxn id="15" idx="1"/>
            </p:cNvCxnSpPr>
            <p:nvPr/>
          </p:nvCxnSpPr>
          <p:spPr>
            <a:xfrm>
              <a:off x="6252716" y="5559636"/>
              <a:ext cx="1771342" cy="609427"/>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2" name="Elbow Connector 44">
              <a:extLst>
                <a:ext uri="{FF2B5EF4-FFF2-40B4-BE49-F238E27FC236}">
                  <a16:creationId xmlns:a16="http://schemas.microsoft.com/office/drawing/2014/main" id="{005B7A68-0522-453A-A4F7-024C23065906}"/>
                </a:ext>
              </a:extLst>
            </p:cNvPr>
            <p:cNvCxnSpPr>
              <a:stCxn id="5" idx="3"/>
              <a:endCxn id="6" idx="1"/>
            </p:cNvCxnSpPr>
            <p:nvPr/>
          </p:nvCxnSpPr>
          <p:spPr>
            <a:xfrm>
              <a:off x="2534640" y="1954344"/>
              <a:ext cx="79487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3" name="Elbow Connector 47">
              <a:extLst>
                <a:ext uri="{FF2B5EF4-FFF2-40B4-BE49-F238E27FC236}">
                  <a16:creationId xmlns:a16="http://schemas.microsoft.com/office/drawing/2014/main" id="{1E417F6F-B514-4D3E-A550-6C6B36B18CEC}"/>
                </a:ext>
              </a:extLst>
            </p:cNvPr>
            <p:cNvCxnSpPr>
              <a:stCxn id="6" idx="3"/>
              <a:endCxn id="9" idx="1"/>
            </p:cNvCxnSpPr>
            <p:nvPr/>
          </p:nvCxnSpPr>
          <p:spPr>
            <a:xfrm>
              <a:off x="5437710" y="1954344"/>
              <a:ext cx="812052"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4" name="Elbow Connector 47">
              <a:extLst>
                <a:ext uri="{FF2B5EF4-FFF2-40B4-BE49-F238E27FC236}">
                  <a16:creationId xmlns:a16="http://schemas.microsoft.com/office/drawing/2014/main" id="{C9273110-0C74-49BE-A442-080A57E315F5}"/>
                </a:ext>
              </a:extLst>
            </p:cNvPr>
            <p:cNvCxnSpPr>
              <a:stCxn id="9" idx="3"/>
              <a:endCxn id="11" idx="1"/>
            </p:cNvCxnSpPr>
            <p:nvPr/>
          </p:nvCxnSpPr>
          <p:spPr>
            <a:xfrm>
              <a:off x="8357962" y="1954344"/>
              <a:ext cx="8128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5" name="Elbow Connector 51">
              <a:extLst>
                <a:ext uri="{FF2B5EF4-FFF2-40B4-BE49-F238E27FC236}">
                  <a16:creationId xmlns:a16="http://schemas.microsoft.com/office/drawing/2014/main" id="{A195E8FC-03B1-4231-9E96-BE6B4F48E359}"/>
                </a:ext>
              </a:extLst>
            </p:cNvPr>
            <p:cNvCxnSpPr>
              <a:stCxn id="12" idx="2"/>
            </p:cNvCxnSpPr>
            <p:nvPr/>
          </p:nvCxnSpPr>
          <p:spPr>
            <a:xfrm rot="16200000" flipH="1">
              <a:off x="4553495" y="4433473"/>
              <a:ext cx="1297401" cy="1"/>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26" name="TextBox 25">
              <a:extLst>
                <a:ext uri="{FF2B5EF4-FFF2-40B4-BE49-F238E27FC236}">
                  <a16:creationId xmlns:a16="http://schemas.microsoft.com/office/drawing/2014/main" id="{E9378F33-8BDC-450C-8825-7815AD777584}"/>
                </a:ext>
              </a:extLst>
            </p:cNvPr>
            <p:cNvSpPr txBox="1"/>
            <p:nvPr/>
          </p:nvSpPr>
          <p:spPr>
            <a:xfrm>
              <a:off x="7553944" y="2814281"/>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27" name="Elbow Connector 53">
              <a:extLst>
                <a:ext uri="{FF2B5EF4-FFF2-40B4-BE49-F238E27FC236}">
                  <a16:creationId xmlns:a16="http://schemas.microsoft.com/office/drawing/2014/main" id="{4A23D5D7-7B2D-4AAA-9978-D5BA84094ABA}"/>
                </a:ext>
              </a:extLst>
            </p:cNvPr>
            <p:cNvCxnSpPr>
              <a:stCxn id="14" idx="0"/>
              <a:endCxn id="11" idx="2"/>
            </p:cNvCxnSpPr>
            <p:nvPr/>
          </p:nvCxnSpPr>
          <p:spPr>
            <a:xfrm rot="5400000" flipH="1" flipV="1">
              <a:off x="9150986" y="2888524"/>
              <a:ext cx="1514785" cy="632968"/>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8" name="Elbow Connector 54">
              <a:extLst>
                <a:ext uri="{FF2B5EF4-FFF2-40B4-BE49-F238E27FC236}">
                  <a16:creationId xmlns:a16="http://schemas.microsoft.com/office/drawing/2014/main" id="{D21B5062-5C3E-4C0C-B498-3A2F324621E2}"/>
                </a:ext>
              </a:extLst>
            </p:cNvPr>
            <p:cNvCxnSpPr>
              <a:stCxn id="15" idx="3"/>
              <a:endCxn id="11" idx="3"/>
            </p:cNvCxnSpPr>
            <p:nvPr/>
          </p:nvCxnSpPr>
          <p:spPr>
            <a:xfrm flipV="1">
              <a:off x="11122123" y="1954344"/>
              <a:ext cx="156839" cy="4214719"/>
            </a:xfrm>
            <a:prstGeom prst="bentConnector3">
              <a:avLst>
                <a:gd name="adj1" fmla="val 51484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7091938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ages and Extents architecture</a:t>
            </a:r>
          </a:p>
        </p:txBody>
      </p:sp>
      <p:graphicFrame>
        <p:nvGraphicFramePr>
          <p:cNvPr id="3" name="Content Placeholder 2">
            <a:extLst>
              <a:ext uri="{FF2B5EF4-FFF2-40B4-BE49-F238E27FC236}">
                <a16:creationId xmlns:a16="http://schemas.microsoft.com/office/drawing/2014/main" id="{6627BE03-59EF-EE4E-0B39-C1C482D5C0BA}"/>
              </a:ext>
            </a:extLst>
          </p:cNvPr>
          <p:cNvGraphicFramePr>
            <a:graphicFrameLocks noGrp="1"/>
          </p:cNvGraphicFramePr>
          <p:nvPr>
            <p:ph sz="quarter" idx="13"/>
          </p:nvPr>
        </p:nvGraphicFramePr>
        <p:xfrm>
          <a:off x="655638" y="1243014"/>
          <a:ext cx="742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30" name="Picture 6" descr="SQL Server data page with row offsets">
            <a:extLst>
              <a:ext uri="{FF2B5EF4-FFF2-40B4-BE49-F238E27FC236}">
                <a16:creationId xmlns:a16="http://schemas.microsoft.com/office/drawing/2014/main" id="{3AF0B53A-9956-46C9-AE8C-3193F1A3B5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91354" y="2497989"/>
            <a:ext cx="3230562" cy="263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646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9F5D-162F-4769-AB09-6F694188AA4C}"/>
              </a:ext>
            </a:extLst>
          </p:cNvPr>
          <p:cNvSpPr>
            <a:spLocks noGrp="1"/>
          </p:cNvSpPr>
          <p:nvPr>
            <p:ph type="title"/>
          </p:nvPr>
        </p:nvSpPr>
        <p:spPr>
          <a:xfrm>
            <a:off x="454241" y="103224"/>
            <a:ext cx="10880725" cy="461665"/>
          </a:xfrm>
        </p:spPr>
        <p:txBody>
          <a:bodyPr/>
          <a:lstStyle/>
          <a:p>
            <a:r>
              <a:rPr lang="en-US" dirty="0"/>
              <a:t>Data Page</a:t>
            </a:r>
          </a:p>
        </p:txBody>
      </p:sp>
      <p:sp>
        <p:nvSpPr>
          <p:cNvPr id="39" name="Rounded Rectangle 19">
            <a:extLst>
              <a:ext uri="{FF2B5EF4-FFF2-40B4-BE49-F238E27FC236}">
                <a16:creationId xmlns:a16="http://schemas.microsoft.com/office/drawing/2014/main" id="{6888F4AB-F549-AC76-C77A-1D2242604F82}"/>
              </a:ext>
            </a:extLst>
          </p:cNvPr>
          <p:cNvSpPr/>
          <p:nvPr/>
        </p:nvSpPr>
        <p:spPr>
          <a:xfrm rot="5400000">
            <a:off x="1302647" y="2295609"/>
            <a:ext cx="5433848" cy="2774278"/>
          </a:xfrm>
          <a:prstGeom prst="roundRect">
            <a:avLst/>
          </a:prstGeom>
          <a:solidFill>
            <a:srgbClr val="7F9BBC">
              <a:lumMod val="75000"/>
            </a:srgbClr>
          </a:solidFill>
          <a:ln w="25400" cap="flat" cmpd="sng" algn="ctr">
            <a:solidFill>
              <a:srgbClr val="FFFFFF">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1" name="Rectangle 40">
            <a:extLst>
              <a:ext uri="{FF2B5EF4-FFF2-40B4-BE49-F238E27FC236}">
                <a16:creationId xmlns:a16="http://schemas.microsoft.com/office/drawing/2014/main" id="{A0BDFB7A-6229-B356-1DCA-B16581F2E989}"/>
              </a:ext>
            </a:extLst>
          </p:cNvPr>
          <p:cNvSpPr/>
          <p:nvPr/>
        </p:nvSpPr>
        <p:spPr>
          <a:xfrm>
            <a:off x="2940175" y="1149562"/>
            <a:ext cx="2158791" cy="715581"/>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Page Header</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 (96 bytes)</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43" name="Straight Connector 42">
            <a:extLst>
              <a:ext uri="{FF2B5EF4-FFF2-40B4-BE49-F238E27FC236}">
                <a16:creationId xmlns:a16="http://schemas.microsoft.com/office/drawing/2014/main" id="{73959132-7722-BAC4-BE24-653469F161EB}"/>
              </a:ext>
            </a:extLst>
          </p:cNvPr>
          <p:cNvCxnSpPr>
            <a:cxnSpLocks/>
          </p:cNvCxnSpPr>
          <p:nvPr/>
        </p:nvCxnSpPr>
        <p:spPr>
          <a:xfrm flipH="1">
            <a:off x="2632432" y="1964307"/>
            <a:ext cx="2774278" cy="0"/>
          </a:xfrm>
          <a:prstGeom prst="line">
            <a:avLst/>
          </a:prstGeom>
          <a:noFill/>
          <a:ln w="9525" cap="flat" cmpd="sng" algn="ctr">
            <a:solidFill>
              <a:srgbClr val="FFFFFF"/>
            </a:solidFill>
            <a:prstDash val="solid"/>
          </a:ln>
          <a:effectLst/>
        </p:spPr>
      </p:cxnSp>
      <p:sp>
        <p:nvSpPr>
          <p:cNvPr id="45" name="Rectangle 44">
            <a:extLst>
              <a:ext uri="{FF2B5EF4-FFF2-40B4-BE49-F238E27FC236}">
                <a16:creationId xmlns:a16="http://schemas.microsoft.com/office/drawing/2014/main" id="{CAD8C865-E7BA-3A66-9ADF-C578CFC40AF3}"/>
              </a:ext>
            </a:extLst>
          </p:cNvPr>
          <p:cNvSpPr/>
          <p:nvPr/>
        </p:nvSpPr>
        <p:spPr>
          <a:xfrm>
            <a:off x="2966454" y="2063472"/>
            <a:ext cx="2158791" cy="392415"/>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1</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47" name="Straight Connector 46">
            <a:extLst>
              <a:ext uri="{FF2B5EF4-FFF2-40B4-BE49-F238E27FC236}">
                <a16:creationId xmlns:a16="http://schemas.microsoft.com/office/drawing/2014/main" id="{F0015BEE-531F-6728-2B83-E099ABE26122}"/>
              </a:ext>
            </a:extLst>
          </p:cNvPr>
          <p:cNvCxnSpPr>
            <a:cxnSpLocks/>
          </p:cNvCxnSpPr>
          <p:nvPr/>
        </p:nvCxnSpPr>
        <p:spPr>
          <a:xfrm flipH="1">
            <a:off x="2627182" y="2621202"/>
            <a:ext cx="2774278" cy="0"/>
          </a:xfrm>
          <a:prstGeom prst="line">
            <a:avLst/>
          </a:prstGeom>
          <a:noFill/>
          <a:ln w="9525" cap="flat" cmpd="sng" algn="ctr">
            <a:solidFill>
              <a:srgbClr val="FFFFFF"/>
            </a:solidFill>
            <a:prstDash val="solid"/>
          </a:ln>
          <a:effectLst/>
        </p:spPr>
      </p:cxnSp>
      <p:sp>
        <p:nvSpPr>
          <p:cNvPr id="49" name="Rectangle 48">
            <a:extLst>
              <a:ext uri="{FF2B5EF4-FFF2-40B4-BE49-F238E27FC236}">
                <a16:creationId xmlns:a16="http://schemas.microsoft.com/office/drawing/2014/main" id="{4F64B47D-8DAD-9EC1-EBC7-BE8BCED94C46}"/>
              </a:ext>
            </a:extLst>
          </p:cNvPr>
          <p:cNvSpPr/>
          <p:nvPr/>
        </p:nvSpPr>
        <p:spPr>
          <a:xfrm>
            <a:off x="2966454" y="2751901"/>
            <a:ext cx="2158791" cy="392415"/>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2</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51" name="Straight Connector 50">
            <a:extLst>
              <a:ext uri="{FF2B5EF4-FFF2-40B4-BE49-F238E27FC236}">
                <a16:creationId xmlns:a16="http://schemas.microsoft.com/office/drawing/2014/main" id="{CB62E73D-DB24-6F1C-E0D9-285A81FA5FCA}"/>
              </a:ext>
            </a:extLst>
          </p:cNvPr>
          <p:cNvCxnSpPr>
            <a:cxnSpLocks/>
          </p:cNvCxnSpPr>
          <p:nvPr/>
        </p:nvCxnSpPr>
        <p:spPr>
          <a:xfrm flipH="1">
            <a:off x="2365217" y="3299123"/>
            <a:ext cx="3073033" cy="10508"/>
          </a:xfrm>
          <a:prstGeom prst="line">
            <a:avLst/>
          </a:prstGeom>
          <a:noFill/>
          <a:ln w="9525" cap="flat" cmpd="sng" algn="ctr">
            <a:solidFill>
              <a:srgbClr val="FFFFFF"/>
            </a:solidFill>
            <a:prstDash val="solid"/>
          </a:ln>
          <a:effectLst/>
        </p:spPr>
      </p:cxnSp>
      <p:sp>
        <p:nvSpPr>
          <p:cNvPr id="53" name="Rectangle 52">
            <a:extLst>
              <a:ext uri="{FF2B5EF4-FFF2-40B4-BE49-F238E27FC236}">
                <a16:creationId xmlns:a16="http://schemas.microsoft.com/office/drawing/2014/main" id="{27941F98-E616-C90D-5BCD-B8F316E67F2D}"/>
              </a:ext>
            </a:extLst>
          </p:cNvPr>
          <p:cNvSpPr/>
          <p:nvPr/>
        </p:nvSpPr>
        <p:spPr>
          <a:xfrm>
            <a:off x="2966454" y="3440330"/>
            <a:ext cx="2158791" cy="392415"/>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Data Row 3</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cxnSp>
        <p:nvCxnSpPr>
          <p:cNvPr id="55" name="Straight Connector 54">
            <a:extLst>
              <a:ext uri="{FF2B5EF4-FFF2-40B4-BE49-F238E27FC236}">
                <a16:creationId xmlns:a16="http://schemas.microsoft.com/office/drawing/2014/main" id="{5AB5F925-D871-3CB4-A142-16D2FDFE7FD2}"/>
              </a:ext>
            </a:extLst>
          </p:cNvPr>
          <p:cNvCxnSpPr>
            <a:cxnSpLocks/>
          </p:cNvCxnSpPr>
          <p:nvPr/>
        </p:nvCxnSpPr>
        <p:spPr>
          <a:xfrm flipH="1">
            <a:off x="2380985" y="3966530"/>
            <a:ext cx="3073033" cy="10508"/>
          </a:xfrm>
          <a:prstGeom prst="line">
            <a:avLst/>
          </a:prstGeom>
          <a:noFill/>
          <a:ln w="9525" cap="flat" cmpd="sng" algn="ctr">
            <a:solidFill>
              <a:srgbClr val="FFFFFF"/>
            </a:solidFill>
            <a:prstDash val="solid"/>
          </a:ln>
          <a:effectLst/>
        </p:spPr>
      </p:cxnSp>
      <p:cxnSp>
        <p:nvCxnSpPr>
          <p:cNvPr id="57" name="Straight Connector 56">
            <a:extLst>
              <a:ext uri="{FF2B5EF4-FFF2-40B4-BE49-F238E27FC236}">
                <a16:creationId xmlns:a16="http://schemas.microsoft.com/office/drawing/2014/main" id="{12D9ED99-AA24-7D3C-22FD-DB8E45100A27}"/>
              </a:ext>
            </a:extLst>
          </p:cNvPr>
          <p:cNvCxnSpPr>
            <a:cxnSpLocks/>
          </p:cNvCxnSpPr>
          <p:nvPr/>
        </p:nvCxnSpPr>
        <p:spPr>
          <a:xfrm flipH="1">
            <a:off x="2509332" y="5743096"/>
            <a:ext cx="3073033" cy="10508"/>
          </a:xfrm>
          <a:prstGeom prst="line">
            <a:avLst/>
          </a:prstGeom>
          <a:noFill/>
          <a:ln w="9525" cap="flat" cmpd="sng" algn="ctr">
            <a:solidFill>
              <a:srgbClr val="FFFFFF"/>
            </a:solidFill>
            <a:prstDash val="solid"/>
          </a:ln>
          <a:effectLst/>
        </p:spPr>
      </p:cxnSp>
      <p:sp>
        <p:nvSpPr>
          <p:cNvPr id="59" name="Rectangle 58">
            <a:extLst>
              <a:ext uri="{FF2B5EF4-FFF2-40B4-BE49-F238E27FC236}">
                <a16:creationId xmlns:a16="http://schemas.microsoft.com/office/drawing/2014/main" id="{8A765CF9-8556-F4B1-772E-1D951B7F578C}"/>
              </a:ext>
            </a:extLst>
          </p:cNvPr>
          <p:cNvSpPr/>
          <p:nvPr/>
        </p:nvSpPr>
        <p:spPr>
          <a:xfrm>
            <a:off x="2945434" y="5842263"/>
            <a:ext cx="2158791" cy="392415"/>
          </a:xfrm>
          <a:prstGeom prst="rect">
            <a:avLst/>
          </a:prstGeom>
          <a:gradFill rotWithShape="1">
            <a:gsLst>
              <a:gs pos="0">
                <a:srgbClr val="FFFFFF">
                  <a:tint val="50000"/>
                  <a:satMod val="300000"/>
                </a:srgbClr>
              </a:gs>
              <a:gs pos="35000">
                <a:srgbClr val="FFFFFF">
                  <a:tint val="37000"/>
                  <a:satMod val="300000"/>
                </a:srgbClr>
              </a:gs>
              <a:gs pos="100000">
                <a:srgbClr val="FFFFFF">
                  <a:tint val="15000"/>
                  <a:satMod val="350000"/>
                </a:srgbClr>
              </a:gs>
            </a:gsLst>
            <a:lin ang="16200000" scaled="1"/>
          </a:gradFill>
          <a:ln w="9525" cap="flat" cmpd="sng" algn="ctr">
            <a:solidFill>
              <a:srgbClr val="FFFFFF">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80" tIns="34290" rIns="68580" bIns="3429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2100"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latin typeface="Calibri" panose="020F0502020204030204" pitchFamily="34" charset="0"/>
                <a:ea typeface="+mn-ea"/>
                <a:cs typeface="+mn-cs"/>
              </a:rPr>
              <a:t>Row Offset Array</a:t>
            </a:r>
            <a:endParaRPr kumimoji="0" lang="en-US" sz="2100"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latin typeface="Calibri" panose="020F0502020204030204" pitchFamily="34" charset="0"/>
              <a:ea typeface="+mn-ea"/>
              <a:cs typeface="+mn-cs"/>
            </a:endParaRPr>
          </a:p>
        </p:txBody>
      </p:sp>
      <p:sp>
        <p:nvSpPr>
          <p:cNvPr id="61" name="TextBox 60">
            <a:extLst>
              <a:ext uri="{FF2B5EF4-FFF2-40B4-BE49-F238E27FC236}">
                <a16:creationId xmlns:a16="http://schemas.microsoft.com/office/drawing/2014/main" id="{17BA5EAC-DC35-E501-A055-BEA1209948FE}"/>
              </a:ext>
            </a:extLst>
          </p:cNvPr>
          <p:cNvSpPr txBox="1"/>
          <p:nvPr/>
        </p:nvSpPr>
        <p:spPr>
          <a:xfrm>
            <a:off x="2876041" y="4489644"/>
            <a:ext cx="2339614" cy="523220"/>
          </a:xfrm>
          <a:prstGeom prst="rect">
            <a:avLst/>
          </a:prstGeom>
          <a:noFill/>
        </p:spPr>
        <p:txBody>
          <a:bodyPr wrap="square" rtlCol="0">
            <a:spAutoFit/>
          </a:bodyPr>
          <a:lstStyle/>
          <a:p>
            <a:pPr algn="ctr"/>
            <a:r>
              <a:rPr lang="en-US" sz="2800" dirty="0">
                <a:solidFill>
                  <a:srgbClr val="FFFFFF"/>
                </a:solidFill>
                <a:latin typeface="Verdana"/>
              </a:rPr>
              <a:t>Free Space</a:t>
            </a:r>
          </a:p>
        </p:txBody>
      </p:sp>
      <p:sp>
        <p:nvSpPr>
          <p:cNvPr id="63" name="TextBox 62">
            <a:extLst>
              <a:ext uri="{FF2B5EF4-FFF2-40B4-BE49-F238E27FC236}">
                <a16:creationId xmlns:a16="http://schemas.microsoft.com/office/drawing/2014/main" id="{BE7300B9-3A62-F52D-4D01-711CF457446D}"/>
              </a:ext>
            </a:extLst>
          </p:cNvPr>
          <p:cNvSpPr txBox="1"/>
          <p:nvPr/>
        </p:nvSpPr>
        <p:spPr>
          <a:xfrm>
            <a:off x="5529811" y="1147022"/>
            <a:ext cx="4434376" cy="646331"/>
          </a:xfrm>
          <a:prstGeom prst="rect">
            <a:avLst/>
          </a:prstGeom>
          <a:noFill/>
        </p:spPr>
        <p:txBody>
          <a:bodyPr wrap="square" rtlCol="0">
            <a:spAutoFit/>
          </a:bodyPr>
          <a:lstStyle/>
          <a:p>
            <a:r>
              <a:rPr lang="en-US" dirty="0">
                <a:solidFill>
                  <a:srgbClr val="000000"/>
                </a:solidFill>
                <a:latin typeface="Verdana"/>
              </a:rPr>
              <a:t>Header contains Page Information such a Page Number and Page Type </a:t>
            </a:r>
          </a:p>
        </p:txBody>
      </p:sp>
      <p:sp>
        <p:nvSpPr>
          <p:cNvPr id="65" name="Right Brace 64">
            <a:extLst>
              <a:ext uri="{FF2B5EF4-FFF2-40B4-BE49-F238E27FC236}">
                <a16:creationId xmlns:a16="http://schemas.microsoft.com/office/drawing/2014/main" id="{DBD54434-4DE8-40FE-4167-0352E9085387}"/>
              </a:ext>
            </a:extLst>
          </p:cNvPr>
          <p:cNvSpPr/>
          <p:nvPr/>
        </p:nvSpPr>
        <p:spPr bwMode="auto">
          <a:xfrm>
            <a:off x="5454018" y="1964307"/>
            <a:ext cx="2187385" cy="3778789"/>
          </a:xfrm>
          <a:prstGeom prst="rightBrace">
            <a:avLst/>
          </a:prstGeom>
          <a:solidFill>
            <a:srgbClr val="8DACD0"/>
          </a:solidFill>
          <a:ln w="9525" cap="flat" cmpd="sng" algn="ctr">
            <a:noFill/>
            <a:prstDash val="solid"/>
            <a:round/>
            <a:headEnd type="none" w="med" len="med"/>
            <a:tailEnd type="none" w="med" len="med"/>
          </a:ln>
          <a:effectLst>
            <a:outerShdw dist="35921" dir="2700000" algn="ctr" rotWithShape="0">
              <a:srgbClr val="AFAFAF"/>
            </a:outerShdw>
          </a:effectLst>
        </p:spPr>
        <p:style>
          <a:lnRef idx="0">
            <a:scrgbClr r="0" g="0" b="0"/>
          </a:lnRef>
          <a:fillRef idx="0">
            <a:scrgbClr r="0" g="0" b="0"/>
          </a:fillRef>
          <a:effectRef idx="0">
            <a:scrgbClr r="0" g="0" b="0"/>
          </a:effectRef>
          <a:fontRef idx="major"/>
        </p:style>
        <p:txBody>
          <a:bodyPr vert="horz" wrap="square" lIns="182880" tIns="45720" rIns="18288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Verdana" pitchFamily="34" charset="0"/>
            </a:endParaRPr>
          </a:p>
        </p:txBody>
      </p:sp>
      <p:sp>
        <p:nvSpPr>
          <p:cNvPr id="67" name="TextBox 66">
            <a:extLst>
              <a:ext uri="{FF2B5EF4-FFF2-40B4-BE49-F238E27FC236}">
                <a16:creationId xmlns:a16="http://schemas.microsoft.com/office/drawing/2014/main" id="{185D40C1-5A91-BD0E-189D-0CF8EF0E664D}"/>
              </a:ext>
            </a:extLst>
          </p:cNvPr>
          <p:cNvSpPr txBox="1"/>
          <p:nvPr/>
        </p:nvSpPr>
        <p:spPr>
          <a:xfrm>
            <a:off x="7368133" y="3682748"/>
            <a:ext cx="3358055" cy="369332"/>
          </a:xfrm>
          <a:prstGeom prst="rect">
            <a:avLst/>
          </a:prstGeom>
          <a:noFill/>
        </p:spPr>
        <p:txBody>
          <a:bodyPr wrap="square" rtlCol="0">
            <a:spAutoFit/>
          </a:bodyPr>
          <a:lstStyle/>
          <a:p>
            <a:r>
              <a:rPr lang="en-US" dirty="0">
                <a:solidFill>
                  <a:srgbClr val="000000"/>
                </a:solidFill>
                <a:latin typeface="Verdana"/>
              </a:rPr>
              <a:t>Data Rows or Free Space</a:t>
            </a:r>
          </a:p>
        </p:txBody>
      </p:sp>
      <p:sp>
        <p:nvSpPr>
          <p:cNvPr id="69" name="TextBox 68">
            <a:extLst>
              <a:ext uri="{FF2B5EF4-FFF2-40B4-BE49-F238E27FC236}">
                <a16:creationId xmlns:a16="http://schemas.microsoft.com/office/drawing/2014/main" id="{BE777208-518D-2193-DC01-890D54E0EC3F}"/>
              </a:ext>
            </a:extLst>
          </p:cNvPr>
          <p:cNvSpPr txBox="1"/>
          <p:nvPr/>
        </p:nvSpPr>
        <p:spPr>
          <a:xfrm>
            <a:off x="5438250" y="5791543"/>
            <a:ext cx="4434376" cy="646331"/>
          </a:xfrm>
          <a:prstGeom prst="rect">
            <a:avLst/>
          </a:prstGeom>
          <a:noFill/>
        </p:spPr>
        <p:txBody>
          <a:bodyPr wrap="square" rtlCol="0">
            <a:spAutoFit/>
          </a:bodyPr>
          <a:lstStyle/>
          <a:p>
            <a:r>
              <a:rPr lang="en-US" dirty="0">
                <a:solidFill>
                  <a:srgbClr val="000000"/>
                </a:solidFill>
                <a:latin typeface="Verdana"/>
              </a:rPr>
              <a:t>Displays how far from beginning of page each row is located.</a:t>
            </a:r>
          </a:p>
        </p:txBody>
      </p:sp>
    </p:spTree>
    <p:extLst>
      <p:ext uri="{BB962C8B-B14F-4D97-AF65-F5344CB8AC3E}">
        <p14:creationId xmlns:p14="http://schemas.microsoft.com/office/powerpoint/2010/main" val="433662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9F5D-162F-4769-AB09-6F694188AA4C}"/>
              </a:ext>
            </a:extLst>
          </p:cNvPr>
          <p:cNvSpPr>
            <a:spLocks noGrp="1"/>
          </p:cNvSpPr>
          <p:nvPr>
            <p:ph type="title"/>
          </p:nvPr>
        </p:nvSpPr>
        <p:spPr>
          <a:xfrm>
            <a:off x="374573" y="114641"/>
            <a:ext cx="10880725" cy="461665"/>
          </a:xfrm>
        </p:spPr>
        <p:txBody>
          <a:bodyPr/>
          <a:lstStyle/>
          <a:p>
            <a:r>
              <a:rPr lang="en-US" dirty="0"/>
              <a:t>Page types</a:t>
            </a:r>
          </a:p>
        </p:txBody>
      </p:sp>
      <p:graphicFrame>
        <p:nvGraphicFramePr>
          <p:cNvPr id="9" name="Content Placeholder 8">
            <a:extLst>
              <a:ext uri="{FF2B5EF4-FFF2-40B4-BE49-F238E27FC236}">
                <a16:creationId xmlns:a16="http://schemas.microsoft.com/office/drawing/2014/main" id="{7211203A-06D1-4275-BE0B-A6F63E7764AC}"/>
              </a:ext>
            </a:extLst>
          </p:cNvPr>
          <p:cNvGraphicFramePr>
            <a:graphicFrameLocks noGrp="1"/>
          </p:cNvGraphicFramePr>
          <p:nvPr>
            <p:ph sz="quarter" idx="13"/>
            <p:extLst>
              <p:ext uri="{D42A27DB-BD31-4B8C-83A1-F6EECF244321}">
                <p14:modId xmlns:p14="http://schemas.microsoft.com/office/powerpoint/2010/main" val="1099968197"/>
              </p:ext>
            </p:extLst>
          </p:nvPr>
        </p:nvGraphicFramePr>
        <p:xfrm>
          <a:off x="374573" y="746460"/>
          <a:ext cx="11817427" cy="6021169"/>
        </p:xfrm>
        <a:graphic>
          <a:graphicData uri="http://schemas.openxmlformats.org/drawingml/2006/table">
            <a:tbl>
              <a:tblPr firstRow="1" bandRow="1">
                <a:tableStyleId>{5C22544A-7EE6-4342-B048-85BDC9FD1C3A}</a:tableStyleId>
              </a:tblPr>
              <a:tblGrid>
                <a:gridCol w="542797">
                  <a:extLst>
                    <a:ext uri="{9D8B030D-6E8A-4147-A177-3AD203B41FA5}">
                      <a16:colId xmlns:a16="http://schemas.microsoft.com/office/drawing/2014/main" val="2584181835"/>
                    </a:ext>
                  </a:extLst>
                </a:gridCol>
                <a:gridCol w="3273870">
                  <a:extLst>
                    <a:ext uri="{9D8B030D-6E8A-4147-A177-3AD203B41FA5}">
                      <a16:colId xmlns:a16="http://schemas.microsoft.com/office/drawing/2014/main" val="3132208126"/>
                    </a:ext>
                  </a:extLst>
                </a:gridCol>
                <a:gridCol w="8000760">
                  <a:extLst>
                    <a:ext uri="{9D8B030D-6E8A-4147-A177-3AD203B41FA5}">
                      <a16:colId xmlns:a16="http://schemas.microsoft.com/office/drawing/2014/main" val="781971758"/>
                    </a:ext>
                  </a:extLst>
                </a:gridCol>
              </a:tblGrid>
              <a:tr h="477758">
                <a:tc>
                  <a:txBody>
                    <a:bodyPr/>
                    <a:lstStyle/>
                    <a:p>
                      <a:endParaRPr lang="en-US" sz="1800" dirty="0"/>
                    </a:p>
                  </a:txBody>
                  <a:tcPr/>
                </a:tc>
                <a:tc>
                  <a:txBody>
                    <a:bodyPr/>
                    <a:lstStyle/>
                    <a:p>
                      <a:r>
                        <a:rPr lang="en-US" sz="1800" dirty="0"/>
                        <a:t>Page Type (ID)</a:t>
                      </a:r>
                    </a:p>
                  </a:txBody>
                  <a:tcPr/>
                </a:tc>
                <a:tc>
                  <a:txBody>
                    <a:bodyPr/>
                    <a:lstStyle/>
                    <a:p>
                      <a:r>
                        <a:rPr lang="en-US" sz="1800" dirty="0"/>
                        <a:t>Description</a:t>
                      </a:r>
                    </a:p>
                  </a:txBody>
                  <a:tcPr/>
                </a:tc>
                <a:extLst>
                  <a:ext uri="{0D108BD9-81ED-4DB2-BD59-A6C34878D82A}">
                    <a16:rowId xmlns:a16="http://schemas.microsoft.com/office/drawing/2014/main" val="199634664"/>
                  </a:ext>
                </a:extLst>
              </a:tr>
              <a:tr h="631377">
                <a:tc rowSpan="3">
                  <a:txBody>
                    <a:bodyPr/>
                    <a:lstStyle/>
                    <a:p>
                      <a:pPr algn="ctr"/>
                      <a:r>
                        <a:rPr lang="en-US" sz="1800" dirty="0"/>
                        <a:t>Data\Index</a:t>
                      </a:r>
                    </a:p>
                  </a:txBody>
                  <a:tcPr vert="vert270">
                    <a:solidFill>
                      <a:schemeClr val="tx2">
                        <a:lumMod val="20000"/>
                        <a:lumOff val="80000"/>
                      </a:schemeClr>
                    </a:solidFill>
                  </a:tcPr>
                </a:tc>
                <a:tc>
                  <a:txBody>
                    <a:bodyPr/>
                    <a:lstStyle/>
                    <a:p>
                      <a:r>
                        <a:rPr lang="en-US" sz="1800" dirty="0"/>
                        <a:t>Data (1)</a:t>
                      </a:r>
                    </a:p>
                  </a:txBody>
                  <a:tcPr>
                    <a:solidFill>
                      <a:schemeClr val="tx2">
                        <a:lumMod val="20000"/>
                        <a:lumOff val="80000"/>
                      </a:schemeClr>
                    </a:solidFill>
                  </a:tcPr>
                </a:tc>
                <a:tc>
                  <a:txBody>
                    <a:bodyPr/>
                    <a:lstStyle/>
                    <a:p>
                      <a:r>
                        <a:rPr lang="en-US" sz="1800" dirty="0">
                          <a:effectLst/>
                        </a:rPr>
                        <a:t>Data rows with all data, except text, ntext, image, nvarchar(max), varchar(max), varbinary(max), and xml data, when </a:t>
                      </a:r>
                      <a:r>
                        <a:rPr lang="en-US" sz="1800" b="1" dirty="0">
                          <a:effectLst/>
                        </a:rPr>
                        <a:t>text in row</a:t>
                      </a:r>
                      <a:r>
                        <a:rPr lang="en-US" sz="1800" dirty="0">
                          <a:effectLst/>
                        </a:rPr>
                        <a:t> is set to </a:t>
                      </a:r>
                      <a:r>
                        <a:rPr lang="en-US" sz="1800" b="1" dirty="0">
                          <a:effectLst/>
                        </a:rPr>
                        <a:t>ON</a:t>
                      </a:r>
                      <a:endParaRPr lang="en-US" sz="1800" b="1" dirty="0"/>
                    </a:p>
                  </a:txBody>
                  <a:tcPr>
                    <a:solidFill>
                      <a:schemeClr val="tx2">
                        <a:lumMod val="20000"/>
                        <a:lumOff val="80000"/>
                      </a:schemeClr>
                    </a:solidFill>
                  </a:tcPr>
                </a:tc>
                <a:extLst>
                  <a:ext uri="{0D108BD9-81ED-4DB2-BD59-A6C34878D82A}">
                    <a16:rowId xmlns:a16="http://schemas.microsoft.com/office/drawing/2014/main" val="3582416367"/>
                  </a:ext>
                </a:extLst>
              </a:tr>
              <a:tr h="477758">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dex (2)</a:t>
                      </a:r>
                      <a:endParaRPr lang="en-US" sz="1800" dirty="0"/>
                    </a:p>
                  </a:txBody>
                  <a:tcPr>
                    <a:solidFill>
                      <a:schemeClr val="tx2">
                        <a:lumMod val="20000"/>
                        <a:lumOff val="80000"/>
                      </a:schemeClr>
                    </a:solidFill>
                  </a:tcPr>
                </a:tc>
                <a:tc>
                  <a:txBody>
                    <a:bodyPr/>
                    <a:lstStyle/>
                    <a:p>
                      <a:r>
                        <a:rPr lang="en-US" sz="1800" dirty="0"/>
                        <a:t>Index Entries</a:t>
                      </a:r>
                    </a:p>
                  </a:txBody>
                  <a:tcPr>
                    <a:solidFill>
                      <a:schemeClr val="tx2">
                        <a:lumMod val="20000"/>
                        <a:lumOff val="80000"/>
                      </a:schemeClr>
                    </a:solidFill>
                  </a:tcPr>
                </a:tc>
                <a:extLst>
                  <a:ext uri="{0D108BD9-81ED-4DB2-BD59-A6C34878D82A}">
                    <a16:rowId xmlns:a16="http://schemas.microsoft.com/office/drawing/2014/main" val="3406184462"/>
                  </a:ext>
                </a:extLst>
              </a:tr>
              <a:tr h="622037">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Text/Image (3 or 4)</a:t>
                      </a:r>
                      <a:endParaRPr lang="en-US" sz="1800" dirty="0"/>
                    </a:p>
                  </a:txBody>
                  <a:tcPr>
                    <a:solidFill>
                      <a:schemeClr val="tx2">
                        <a:lumMod val="20000"/>
                        <a:lumOff val="80000"/>
                      </a:schemeClr>
                    </a:solidFill>
                  </a:tcPr>
                </a:tc>
                <a:tc>
                  <a:txBody>
                    <a:bodyPr/>
                    <a:lstStyle/>
                    <a:p>
                      <a:r>
                        <a:rPr lang="en-US" sz="1800" dirty="0"/>
                        <a:t>Large Object Data Type, variable length columns when the data row exceeds 8 kilobytes (KB)</a:t>
                      </a:r>
                    </a:p>
                  </a:txBody>
                  <a:tcPr>
                    <a:solidFill>
                      <a:schemeClr val="tx2">
                        <a:lumMod val="20000"/>
                        <a:lumOff val="80000"/>
                      </a:schemeClr>
                    </a:solidFill>
                  </a:tcPr>
                </a:tc>
                <a:extLst>
                  <a:ext uri="{0D108BD9-81ED-4DB2-BD59-A6C34878D82A}">
                    <a16:rowId xmlns:a16="http://schemas.microsoft.com/office/drawing/2014/main" val="404599460"/>
                  </a:ext>
                </a:extLst>
              </a:tr>
              <a:tr h="477758">
                <a:tc rowSpan="3">
                  <a:txBody>
                    <a:bodyPr/>
                    <a:lstStyle/>
                    <a:p>
                      <a:pPr algn="ctr"/>
                      <a:r>
                        <a:rPr lang="en-US" sz="1800" dirty="0"/>
                        <a:t>Allocation</a:t>
                      </a:r>
                    </a:p>
                  </a:txBody>
                  <a:tcPr vert="vert270">
                    <a:solidFill>
                      <a:srgbClr val="E7ECF7"/>
                    </a:solidFill>
                  </a:tcPr>
                </a:tc>
                <a:tc>
                  <a:txBody>
                    <a:bodyPr/>
                    <a:lstStyle/>
                    <a:p>
                      <a:r>
                        <a:rPr lang="en-US" sz="1800" dirty="0"/>
                        <a:t>GAM, SGAM (8 and 9)</a:t>
                      </a:r>
                    </a:p>
                  </a:txBody>
                  <a:tcPr>
                    <a:solidFill>
                      <a:srgbClr val="E7ECF7"/>
                    </a:solidFill>
                  </a:tcPr>
                </a:tc>
                <a:tc>
                  <a:txBody>
                    <a:bodyPr/>
                    <a:lstStyle/>
                    <a:p>
                      <a:r>
                        <a:rPr lang="en-US" sz="1800" dirty="0"/>
                        <a:t>Extent Allocation information</a:t>
                      </a:r>
                    </a:p>
                  </a:txBody>
                  <a:tcPr>
                    <a:solidFill>
                      <a:srgbClr val="E7ECF7"/>
                    </a:solidFill>
                  </a:tcPr>
                </a:tc>
                <a:extLst>
                  <a:ext uri="{0D108BD9-81ED-4DB2-BD59-A6C34878D82A}">
                    <a16:rowId xmlns:a16="http://schemas.microsoft.com/office/drawing/2014/main" val="3174941510"/>
                  </a:ext>
                </a:extLst>
              </a:tr>
              <a:tr h="477758">
                <a:tc vMerge="1">
                  <a:txBody>
                    <a:bodyPr/>
                    <a:lstStyle/>
                    <a:p>
                      <a:endParaRPr lang="en-US" sz="1800" dirty="0"/>
                    </a:p>
                  </a:txBody>
                  <a:tcPr/>
                </a:tc>
                <a:tc>
                  <a:txBody>
                    <a:bodyPr/>
                    <a:lstStyle/>
                    <a:p>
                      <a:r>
                        <a:rPr lang="en-US" sz="1800" dirty="0"/>
                        <a:t>PFS (11)</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page allocation and free space available on pages</a:t>
                      </a:r>
                    </a:p>
                  </a:txBody>
                  <a:tcPr>
                    <a:solidFill>
                      <a:srgbClr val="E7ECF7"/>
                    </a:solidFill>
                  </a:tcPr>
                </a:tc>
                <a:extLst>
                  <a:ext uri="{0D108BD9-81ED-4DB2-BD59-A6C34878D82A}">
                    <a16:rowId xmlns:a16="http://schemas.microsoft.com/office/drawing/2014/main" val="420272656"/>
                  </a:ext>
                </a:extLst>
              </a:tr>
              <a:tr h="469198">
                <a:tc vMerge="1">
                  <a:txBody>
                    <a:bodyPr/>
                    <a:lstStyle/>
                    <a:p>
                      <a:endParaRPr lang="en-US" sz="1800" dirty="0"/>
                    </a:p>
                  </a:txBody>
                  <a:tcPr/>
                </a:tc>
                <a:tc>
                  <a:txBody>
                    <a:bodyPr/>
                    <a:lstStyle/>
                    <a:p>
                      <a:r>
                        <a:rPr lang="en-US" sz="1800" dirty="0"/>
                        <a:t>IAM (10)</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used by a table or index per allocation unit</a:t>
                      </a:r>
                      <a:endParaRPr lang="en-US" sz="1800" dirty="0"/>
                    </a:p>
                  </a:txBody>
                  <a:tcPr>
                    <a:solidFill>
                      <a:srgbClr val="E7ECF7"/>
                    </a:solidFill>
                  </a:tcPr>
                </a:tc>
                <a:extLst>
                  <a:ext uri="{0D108BD9-81ED-4DB2-BD59-A6C34878D82A}">
                    <a16:rowId xmlns:a16="http://schemas.microsoft.com/office/drawing/2014/main" val="2562197781"/>
                  </a:ext>
                </a:extLst>
              </a:tr>
              <a:tr h="608553">
                <a:tc rowSpan="2">
                  <a:txBody>
                    <a:bodyPr/>
                    <a:lstStyle/>
                    <a:p>
                      <a:pPr algn="ctr"/>
                      <a:r>
                        <a:rPr lang="en-US" sz="1800" dirty="0"/>
                        <a:t>Restore</a:t>
                      </a:r>
                    </a:p>
                  </a:txBody>
                  <a:tcPr vert="vert27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Bulk Changed Map (17)</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modified by bulk operations since the last BACKUP LOG statement per allocation unit</a:t>
                      </a:r>
                      <a:endParaRPr lang="en-US" sz="1800" dirty="0"/>
                    </a:p>
                  </a:txBody>
                  <a:tcPr>
                    <a:solidFill>
                      <a:schemeClr val="tx2">
                        <a:lumMod val="20000"/>
                        <a:lumOff val="80000"/>
                      </a:schemeClr>
                    </a:solidFill>
                  </a:tcPr>
                </a:tc>
                <a:extLst>
                  <a:ext uri="{0D108BD9-81ED-4DB2-BD59-A6C34878D82A}">
                    <a16:rowId xmlns:a16="http://schemas.microsoft.com/office/drawing/2014/main" val="4153643319"/>
                  </a:ext>
                </a:extLst>
              </a:tr>
              <a:tr h="608553">
                <a:tc vMerge="1">
                  <a:txBody>
                    <a:bodyPr/>
                    <a:lstStyle/>
                    <a:p>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Differential Changed Map (16)</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that have changed since the last BACKUP DATABASE statement per allocation unit.</a:t>
                      </a:r>
                    </a:p>
                  </a:txBody>
                  <a:tcPr>
                    <a:solidFill>
                      <a:schemeClr val="tx2">
                        <a:lumMod val="20000"/>
                        <a:lumOff val="80000"/>
                      </a:schemeClr>
                    </a:solidFill>
                  </a:tcPr>
                </a:tc>
                <a:extLst>
                  <a:ext uri="{0D108BD9-81ED-4DB2-BD59-A6C34878D82A}">
                    <a16:rowId xmlns:a16="http://schemas.microsoft.com/office/drawing/2014/main" val="1493542476"/>
                  </a:ext>
                </a:extLst>
              </a:tr>
              <a:tr h="477758">
                <a:tc rowSpan="2">
                  <a:txBody>
                    <a:bodyPr/>
                    <a:lstStyle/>
                    <a:p>
                      <a:pPr algn="ctr"/>
                      <a:r>
                        <a:rPr lang="en-US" sz="1800" dirty="0"/>
                        <a:t>Metadata</a:t>
                      </a:r>
                    </a:p>
                  </a:txBody>
                  <a:tcPr vert="vert270">
                    <a:solidFill>
                      <a:srgbClr val="E7ECF7"/>
                    </a:solidFill>
                  </a:tcPr>
                </a:tc>
                <a:tc>
                  <a:txBody>
                    <a:bodyPr/>
                    <a:lstStyle/>
                    <a:p>
                      <a:r>
                        <a:rPr lang="en-US" sz="1800" dirty="0"/>
                        <a:t>Boot (13)</a:t>
                      </a:r>
                    </a:p>
                  </a:txBody>
                  <a:tcPr>
                    <a:solidFill>
                      <a:srgbClr val="E7ECF7"/>
                    </a:solidFill>
                  </a:tcPr>
                </a:tc>
                <a:tc>
                  <a:txBody>
                    <a:bodyPr/>
                    <a:lstStyle/>
                    <a:p>
                      <a:r>
                        <a:rPr lang="en-US" sz="1800" u="none" strike="noStrike" dirty="0">
                          <a:effectLst/>
                        </a:rPr>
                        <a:t>Information about the database; Each database has only one Boot page</a:t>
                      </a:r>
                      <a:endParaRPr lang="en-US" sz="1800" dirty="0"/>
                    </a:p>
                  </a:txBody>
                  <a:tcPr>
                    <a:solidFill>
                      <a:srgbClr val="E7ECF7"/>
                    </a:solidFill>
                  </a:tcPr>
                </a:tc>
                <a:extLst>
                  <a:ext uri="{0D108BD9-81ED-4DB2-BD59-A6C34878D82A}">
                    <a16:rowId xmlns:a16="http://schemas.microsoft.com/office/drawing/2014/main" val="1945886157"/>
                  </a:ext>
                </a:extLst>
              </a:tr>
              <a:tr h="602861">
                <a:tc vMerge="1">
                  <a:txBody>
                    <a:bodyPr/>
                    <a:lstStyle/>
                    <a:p>
                      <a:pPr algn="ctr"/>
                      <a:endParaRPr lang="en-US" sz="1800" dirty="0"/>
                    </a:p>
                  </a:txBody>
                  <a:tcPr/>
                </a:tc>
                <a:tc>
                  <a:txBody>
                    <a:bodyPr/>
                    <a:lstStyle/>
                    <a:p>
                      <a:r>
                        <a:rPr lang="en-US" sz="1800" dirty="0"/>
                        <a:t>File Header (15)</a:t>
                      </a:r>
                    </a:p>
                  </a:txBody>
                  <a:tcPr>
                    <a:solidFill>
                      <a:srgbClr val="E7ECF7"/>
                    </a:solidFill>
                  </a:tcPr>
                </a:tc>
                <a:tc>
                  <a:txBody>
                    <a:bodyPr/>
                    <a:lstStyle/>
                    <a:p>
                      <a:r>
                        <a:rPr lang="en-US" sz="1800" u="none" strike="noStrike" dirty="0">
                          <a:effectLst/>
                        </a:rPr>
                        <a:t>Information about the file. It is the first page (page 0) in every file</a:t>
                      </a:r>
                      <a:endParaRPr lang="en-US" sz="1800" dirty="0"/>
                    </a:p>
                  </a:txBody>
                  <a:tcPr>
                    <a:solidFill>
                      <a:srgbClr val="E7ECF7"/>
                    </a:solidFill>
                  </a:tcPr>
                </a:tc>
                <a:extLst>
                  <a:ext uri="{0D108BD9-81ED-4DB2-BD59-A6C34878D82A}">
                    <a16:rowId xmlns:a16="http://schemas.microsoft.com/office/drawing/2014/main" val="2155685844"/>
                  </a:ext>
                </a:extLst>
              </a:tr>
            </a:tbl>
          </a:graphicData>
        </a:graphic>
      </p:graphicFrame>
    </p:spTree>
    <p:extLst>
      <p:ext uri="{BB962C8B-B14F-4D97-AF65-F5344CB8AC3E}">
        <p14:creationId xmlns:p14="http://schemas.microsoft.com/office/powerpoint/2010/main" val="3467512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324033" y="167523"/>
            <a:ext cx="10971244" cy="461665"/>
          </a:xfrm>
        </p:spPr>
        <p:txBody>
          <a:bodyPr/>
          <a:lstStyle/>
          <a:p>
            <a:r>
              <a:rPr lang="en-US" dirty="0"/>
              <a:t>DBCC IND</a:t>
            </a:r>
          </a:p>
        </p:txBody>
      </p:sp>
      <p:pic>
        <p:nvPicPr>
          <p:cNvPr id="3" name="Picture 2">
            <a:extLst>
              <a:ext uri="{FF2B5EF4-FFF2-40B4-BE49-F238E27FC236}">
                <a16:creationId xmlns:a16="http://schemas.microsoft.com/office/drawing/2014/main" id="{2B258257-4F29-4E77-BA4D-A52EEAE187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34" y="936271"/>
            <a:ext cx="11663611" cy="5227473"/>
          </a:xfrm>
          <a:prstGeom prst="rect">
            <a:avLst/>
          </a:prstGeom>
        </p:spPr>
      </p:pic>
    </p:spTree>
    <p:extLst>
      <p:ext uri="{BB962C8B-B14F-4D97-AF65-F5344CB8AC3E}">
        <p14:creationId xmlns:p14="http://schemas.microsoft.com/office/powerpoint/2010/main" val="2554998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DBCC IND – Column Headers</a:t>
            </a:r>
          </a:p>
        </p:txBody>
      </p:sp>
      <p:graphicFrame>
        <p:nvGraphicFramePr>
          <p:cNvPr id="3" name="Diagram 2">
            <a:extLst>
              <a:ext uri="{FF2B5EF4-FFF2-40B4-BE49-F238E27FC236}">
                <a16:creationId xmlns:a16="http://schemas.microsoft.com/office/drawing/2014/main" id="{1E7BCD00-4D68-BAE4-6090-214FD4C02981}"/>
              </a:ext>
            </a:extLst>
          </p:cNvPr>
          <p:cNvGraphicFramePr/>
          <p:nvPr>
            <p:extLst>
              <p:ext uri="{D42A27DB-BD31-4B8C-83A1-F6EECF244321}">
                <p14:modId xmlns:p14="http://schemas.microsoft.com/office/powerpoint/2010/main" val="2521533559"/>
              </p:ext>
            </p:extLst>
          </p:nvPr>
        </p:nvGraphicFramePr>
        <p:xfrm>
          <a:off x="974720" y="1102090"/>
          <a:ext cx="10787743" cy="51844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62678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DBCC IND – Column Headers</a:t>
            </a:r>
          </a:p>
        </p:txBody>
      </p:sp>
      <p:graphicFrame>
        <p:nvGraphicFramePr>
          <p:cNvPr id="7" name="Content Placeholder 6">
            <a:extLst>
              <a:ext uri="{FF2B5EF4-FFF2-40B4-BE49-F238E27FC236}">
                <a16:creationId xmlns:a16="http://schemas.microsoft.com/office/drawing/2014/main" id="{43DFAAFF-98E8-5211-8A27-E410CC9954C1}"/>
              </a:ext>
            </a:extLst>
          </p:cNvPr>
          <p:cNvGraphicFramePr>
            <a:graphicFrameLocks noGrp="1"/>
          </p:cNvGraphicFramePr>
          <p:nvPr>
            <p:ph idx="1"/>
            <p:extLst>
              <p:ext uri="{D42A27DB-BD31-4B8C-83A1-F6EECF244321}">
                <p14:modId xmlns:p14="http://schemas.microsoft.com/office/powerpoint/2010/main" val="867276932"/>
              </p:ext>
            </p:extLst>
          </p:nvPr>
        </p:nvGraphicFramePr>
        <p:xfrm>
          <a:off x="636814" y="1573553"/>
          <a:ext cx="10646228" cy="40870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86488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402901" y="200052"/>
            <a:ext cx="10971244" cy="1142838"/>
          </a:xfrm>
        </p:spPr>
        <p:txBody>
          <a:bodyPr/>
          <a:lstStyle/>
          <a:p>
            <a:r>
              <a:rPr lang="en-US" dirty="0"/>
              <a:t>Row Storage</a:t>
            </a:r>
          </a:p>
        </p:txBody>
      </p:sp>
      <p:graphicFrame>
        <p:nvGraphicFramePr>
          <p:cNvPr id="4" name="Diagram 3">
            <a:extLst>
              <a:ext uri="{FF2B5EF4-FFF2-40B4-BE49-F238E27FC236}">
                <a16:creationId xmlns:a16="http://schemas.microsoft.com/office/drawing/2014/main" id="{A4003F08-C0DD-4678-9370-E4CC7A8401CE}"/>
              </a:ext>
            </a:extLst>
          </p:cNvPr>
          <p:cNvGraphicFramePr/>
          <p:nvPr>
            <p:extLst>
              <p:ext uri="{D42A27DB-BD31-4B8C-83A1-F6EECF244321}">
                <p14:modId xmlns:p14="http://schemas.microsoft.com/office/powerpoint/2010/main" val="4157937144"/>
              </p:ext>
            </p:extLst>
          </p:nvPr>
        </p:nvGraphicFramePr>
        <p:xfrm>
          <a:off x="343941" y="967660"/>
          <a:ext cx="11504118" cy="5249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77623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461665"/>
          </a:xfrm>
        </p:spPr>
        <p:txBody>
          <a:bodyPr/>
          <a:lstStyle/>
          <a:p>
            <a:r>
              <a:rPr lang="en-US" dirty="0"/>
              <a:t>DBCC PAGE</a:t>
            </a:r>
          </a:p>
        </p:txBody>
      </p:sp>
      <p:pic>
        <p:nvPicPr>
          <p:cNvPr id="3" name="Picture 2">
            <a:extLst>
              <a:ext uri="{FF2B5EF4-FFF2-40B4-BE49-F238E27FC236}">
                <a16:creationId xmlns:a16="http://schemas.microsoft.com/office/drawing/2014/main" id="{0DC0808B-1442-47F6-A731-2CF02ADAB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8355" y="925422"/>
            <a:ext cx="9944069" cy="5294605"/>
          </a:xfrm>
          <a:prstGeom prst="rect">
            <a:avLst/>
          </a:prstGeom>
        </p:spPr>
      </p:pic>
    </p:spTree>
    <p:extLst>
      <p:ext uri="{BB962C8B-B14F-4D97-AF65-F5344CB8AC3E}">
        <p14:creationId xmlns:p14="http://schemas.microsoft.com/office/powerpoint/2010/main" val="2331394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1_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5661E963-C7D3-4B9F-9461-10E39CE650BB}">
  <ds:schemaRefs>
    <ds:schemaRef ds:uri="Strauss.PersonalizationDefinition"/>
  </ds:schemaRefs>
</ds:datastoreItem>
</file>

<file path=customXml/itemProps2.xml><?xml version="1.0" encoding="utf-8"?>
<ds:datastoreItem xmlns:ds="http://schemas.openxmlformats.org/officeDocument/2006/customXml" ds:itemID="{434351B0-8B7B-4F43-B026-BFEAB148289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306</Words>
  <Application>Microsoft Office PowerPoint</Application>
  <PresentationFormat>Widescreen</PresentationFormat>
  <Paragraphs>349</Paragraphs>
  <Slides>20</Slides>
  <Notes>15</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20</vt:i4>
      </vt:variant>
    </vt:vector>
  </HeadingPairs>
  <TitlesOfParts>
    <vt:vector size="34" baseType="lpstr">
      <vt:lpstr>Arial</vt:lpstr>
      <vt:lpstr>Calibri</vt:lpstr>
      <vt:lpstr>Calibri Light</vt:lpstr>
      <vt:lpstr>Century Gothic</vt:lpstr>
      <vt:lpstr>Comic Sans MS</vt:lpstr>
      <vt:lpstr>Consolas</vt:lpstr>
      <vt:lpstr>Segoe UI</vt:lpstr>
      <vt:lpstr>Segoe UI Light</vt:lpstr>
      <vt:lpstr>Segoe UI Semibold</vt:lpstr>
      <vt:lpstr>Verdana</vt:lpstr>
      <vt:lpstr>Wingdings</vt:lpstr>
      <vt:lpstr>Microsoft 365 PPT Template - 2018</vt:lpstr>
      <vt:lpstr>Dark Blue</vt:lpstr>
      <vt:lpstr>1_PASS 2013_SpeakerTemplate_Final</vt:lpstr>
      <vt:lpstr>Allocation Units </vt:lpstr>
      <vt:lpstr>Pages and Extents architecture</vt:lpstr>
      <vt:lpstr>Data Page</vt:lpstr>
      <vt:lpstr>Page types</vt:lpstr>
      <vt:lpstr>DBCC IND</vt:lpstr>
      <vt:lpstr>DBCC IND – Column Headers</vt:lpstr>
      <vt:lpstr>DBCC IND – Column Headers</vt:lpstr>
      <vt:lpstr>Row Storage</vt:lpstr>
      <vt:lpstr>DBCC PAGE</vt:lpstr>
      <vt:lpstr>New Dynamic Management Functions</vt:lpstr>
      <vt:lpstr>SQL Server object allocation</vt:lpstr>
      <vt:lpstr>The Role of Allocation Pages in Object Allocation</vt:lpstr>
      <vt:lpstr>Allocation objects</vt:lpstr>
      <vt:lpstr>Database File page layout</vt:lpstr>
      <vt:lpstr>Extent Allocation Map Pages</vt:lpstr>
      <vt:lpstr>SQL Server object allocation</vt:lpstr>
      <vt:lpstr>SQL Server object allocation (Trace Flag 1118)</vt:lpstr>
      <vt:lpstr>Tying it all together</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6-08T20: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